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comments/comment1.xml" ContentType="application/vnd.openxmlformats-officedocument.presentationml.comment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11/relationships/webextensiontaskpanes" Target="ppt/webextensions/taskpanes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</p:sldMasterIdLst>
  <p:notesMasterIdLst>
    <p:notesMasterId r:id="rId18"/>
  </p:notesMasterIdLst>
  <p:sldIdLst>
    <p:sldId id="256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</p:sldIdLst>
  <p:sldSz cx="24384000" cy="13716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орокина Анастасия Васильевна" initials="СА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1" d="100"/>
          <a:sy n="31" d="100"/>
        </p:scale>
        <p:origin x="-120" y="-402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2-04-04T18:26:16.591" idx="1">
    <p:pos x="15475" y="0"/>
    <p:text/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image" Target="../media/image2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r>
              <a:rPr lang="ru-RU" sz="3000" b="0" strike="noStrike" spc="-1">
                <a:solidFill>
                  <a:srgbClr val="000000"/>
                </a:solidFill>
                <a:latin typeface="Helvetica Neue"/>
              </a:rPr>
              <a:t>Для перемещения страницы щёлкните мышью</a:t>
            </a:r>
          </a:p>
        </p:txBody>
      </p:sp>
      <p:sp>
        <p:nvSpPr>
          <p:cNvPr id="222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XO Oriel"/>
              </a:rPr>
              <a:t>Для правки формата примечаний щёлкните мышью</a:t>
            </a:r>
          </a:p>
        </p:txBody>
      </p:sp>
      <p:sp>
        <p:nvSpPr>
          <p:cNvPr id="223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1400" b="0" strike="noStrike" spc="-1">
                <a:latin typeface="Times New Roman"/>
              </a:rPr>
              <a:t>&lt;верхний колонтитул&gt;</a:t>
            </a:r>
          </a:p>
        </p:txBody>
      </p:sp>
      <p:sp>
        <p:nvSpPr>
          <p:cNvPr id="224" name="PlaceHolder 4"/>
          <p:cNvSpPr>
            <a:spLocks noGrp="1"/>
          </p:cNvSpPr>
          <p:nvPr>
            <p:ph type="dt" idx="4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r>
              <a:rPr lang="ru-RU" sz="1400" b="0" strike="noStrike" spc="-1">
                <a:latin typeface="Times New Roman"/>
              </a:rPr>
              <a:t>&lt;дата/время&gt;</a:t>
            </a:r>
          </a:p>
        </p:txBody>
      </p:sp>
      <p:sp>
        <p:nvSpPr>
          <p:cNvPr id="225" name="PlaceHolder 5"/>
          <p:cNvSpPr>
            <a:spLocks noGrp="1"/>
          </p:cNvSpPr>
          <p:nvPr>
            <p:ph type="ftr" idx="5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ru-RU" sz="1400" b="0" strike="noStrike" spc="-1">
                <a:latin typeface="Times New Roman"/>
              </a:defRPr>
            </a:lvl1pPr>
          </a:lstStyle>
          <a:p>
            <a:r>
              <a:rPr lang="ru-RU" sz="1400" b="0" strike="noStrike" spc="-1">
                <a:latin typeface="Times New Roman"/>
              </a:rPr>
              <a:t>&lt;нижний колонтитул&gt;</a:t>
            </a:r>
          </a:p>
        </p:txBody>
      </p:sp>
      <p:sp>
        <p:nvSpPr>
          <p:cNvPr id="226" name="PlaceHolder 6"/>
          <p:cNvSpPr>
            <a:spLocks noGrp="1"/>
          </p:cNvSpPr>
          <p:nvPr>
            <p:ph type="sldNum" idx="6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fld id="{06622821-4E32-48B0-BAFB-DB1F622B04B4}" type="slidenum">
              <a:rPr lang="ru-RU" sz="1400" b="0" strike="noStrike" spc="-1">
                <a:latin typeface="Times New Roman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79568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0880" y="685800"/>
            <a:ext cx="6095520" cy="3428640"/>
          </a:xfrm>
          <a:prstGeom prst="rect">
            <a:avLst/>
          </a:prstGeom>
          <a:ln w="0">
            <a:noFill/>
          </a:ln>
        </p:spPr>
      </p:sp>
      <p:sp>
        <p:nvSpPr>
          <p:cNvPr id="399" name="PlaceHolder 2"/>
          <p:cNvSpPr>
            <a:spLocks noGrp="1"/>
          </p:cNvSpPr>
          <p:nvPr>
            <p:ph type="body"/>
          </p:nvPr>
        </p:nvSpPr>
        <p:spPr>
          <a:xfrm>
            <a:off x="914400" y="4343400"/>
            <a:ext cx="5028840" cy="41144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endParaRPr lang="ru-RU" sz="2000" b="0" strike="noStrike" spc="-1">
              <a:latin typeface="XO Oriel"/>
            </a:endParaRPr>
          </a:p>
        </p:txBody>
      </p:sp>
      <p:sp>
        <p:nvSpPr>
          <p:cNvPr id="400" name="PlaceHolder 3"/>
          <p:cNvSpPr>
            <a:spLocks noGrp="1"/>
          </p:cNvSpPr>
          <p:nvPr>
            <p:ph type="sldNum" idx="7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tIns="90000" rIns="90000" bIns="90000" anchor="t">
            <a:noAutofit/>
          </a:bodyPr>
          <a:lstStyle>
            <a:lvl1pPr algn="r">
              <a:lnSpc>
                <a:spcPct val="100000"/>
              </a:lnSpc>
              <a:buNone/>
              <a:tabLst>
                <a:tab pos="0" algn="l"/>
              </a:tabLst>
              <a:defRPr lang="en-US" sz="1200" b="0" strike="noStrike" spc="-1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pos="0" algn="l"/>
              </a:tabLst>
            </a:pPr>
            <a:fld id="{496E42C4-5CF8-4966-B4BE-579DB9BDBC97}" type="slidenum">
              <a:rPr lang="en-US" sz="1200" b="0" strike="noStrike" spc="-1">
                <a:solidFill>
                  <a:srgbClr val="000000"/>
                </a:solidFill>
                <a:latin typeface="Arial"/>
                <a:ea typeface="+mn-ea"/>
              </a:rPr>
              <a:t>2</a:t>
            </a:fld>
            <a:endParaRPr lang="ru-RU" sz="12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0880" y="685800"/>
            <a:ext cx="6095520" cy="3428640"/>
          </a:xfrm>
          <a:prstGeom prst="rect">
            <a:avLst/>
          </a:prstGeom>
          <a:ln w="0">
            <a:noFill/>
          </a:ln>
        </p:spPr>
      </p:sp>
      <p:sp>
        <p:nvSpPr>
          <p:cNvPr id="402" name="PlaceHolder 2"/>
          <p:cNvSpPr>
            <a:spLocks noGrp="1"/>
          </p:cNvSpPr>
          <p:nvPr>
            <p:ph type="body"/>
          </p:nvPr>
        </p:nvSpPr>
        <p:spPr>
          <a:xfrm>
            <a:off x="550080" y="5322960"/>
            <a:ext cx="5789520" cy="24588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endParaRPr lang="ru-RU" sz="2000" b="0" strike="noStrike" spc="-1">
              <a:latin typeface="XO Oriel"/>
            </a:endParaRPr>
          </a:p>
        </p:txBody>
      </p:sp>
      <p:sp>
        <p:nvSpPr>
          <p:cNvPr id="403" name="PlaceHolder 3"/>
          <p:cNvSpPr>
            <a:spLocks noGrp="1"/>
          </p:cNvSpPr>
          <p:nvPr>
            <p:ph type="sldNum" idx="8"/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90000" tIns="90000" rIns="90000" bIns="90000" anchor="t">
            <a:noAutofit/>
          </a:bodyPr>
          <a:lstStyle>
            <a:lvl1pPr algn="ctr">
              <a:lnSpc>
                <a:spcPct val="100000"/>
              </a:lnSpc>
              <a:buNone/>
              <a:tabLst>
                <a:tab pos="0" algn="l"/>
              </a:tabLst>
              <a:defRPr lang="en-US" sz="3000" b="1" strike="noStrike" spc="-1">
                <a:solidFill>
                  <a:srgbClr val="000000"/>
                </a:solidFill>
                <a:latin typeface="Helvetica Neue"/>
                <a:ea typeface="Helvetica Neue"/>
              </a:defRPr>
            </a:lvl1pPr>
          </a:lstStyle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fld id="{C83F56FB-FC1C-4E4F-8C82-7B3705C40CBD}" type="slidenum">
              <a:rPr lang="en-US" sz="3000" b="1" strike="noStrike" spc="-1">
                <a:solidFill>
                  <a:srgbClr val="000000"/>
                </a:solidFill>
                <a:latin typeface="Helvetica Neue"/>
                <a:ea typeface="Helvetica Neue"/>
              </a:rPr>
              <a:t>3</a:t>
            </a:fld>
            <a:endParaRPr lang="ru-RU" sz="30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AEC1514-3F0C-40A1-A068-ADFF93F2C5C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D9E1232-0149-4E79-8C41-306611D9A45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8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9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0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1" name="PlaceHolder 5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587CEA66-1C61-4081-A2A9-1017D47A633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3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4" name="PlaceHolder 3"/>
          <p:cNvSpPr>
            <a:spLocks noGrp="1"/>
          </p:cNvSpPr>
          <p:nvPr>
            <p:ph/>
          </p:nvPr>
        </p:nvSpPr>
        <p:spPr>
          <a:xfrm>
            <a:off x="878724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5" name="PlaceHolder 4"/>
          <p:cNvSpPr>
            <a:spLocks noGrp="1"/>
          </p:cNvSpPr>
          <p:nvPr>
            <p:ph/>
          </p:nvPr>
        </p:nvSpPr>
        <p:spPr>
          <a:xfrm>
            <a:off x="1589760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6" name="PlaceHolder 5"/>
          <p:cNvSpPr>
            <a:spLocks noGrp="1"/>
          </p:cNvSpPr>
          <p:nvPr>
            <p:ph/>
          </p:nvPr>
        </p:nvSpPr>
        <p:spPr>
          <a:xfrm>
            <a:off x="167652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7" name="PlaceHolder 6"/>
          <p:cNvSpPr>
            <a:spLocks noGrp="1"/>
          </p:cNvSpPr>
          <p:nvPr>
            <p:ph/>
          </p:nvPr>
        </p:nvSpPr>
        <p:spPr>
          <a:xfrm>
            <a:off x="878724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8" name="PlaceHolder 7"/>
          <p:cNvSpPr>
            <a:spLocks noGrp="1"/>
          </p:cNvSpPr>
          <p:nvPr>
            <p:ph/>
          </p:nvPr>
        </p:nvSpPr>
        <p:spPr>
          <a:xfrm>
            <a:off x="1589760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26799EA9-C9E9-4858-A0FD-D218AB293F4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 type="subTitle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9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subTitle"/>
          </p:nvPr>
        </p:nvSpPr>
        <p:spPr>
          <a:xfrm>
            <a:off x="1676520" y="730080"/>
            <a:ext cx="21030840" cy="12288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7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8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PlaceHolder 2"/>
          <p:cNvSpPr>
            <a:spLocks noGrp="1"/>
          </p:cNvSpPr>
          <p:nvPr>
            <p:ph type="subTitle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2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49B1511-2061-447B-8CE6-69C31EC6BC2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4" name="PlaceHolder 5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878724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/>
          </p:nvPr>
        </p:nvSpPr>
        <p:spPr>
          <a:xfrm>
            <a:off x="1589760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9" name="PlaceHolder 5"/>
          <p:cNvSpPr>
            <a:spLocks noGrp="1"/>
          </p:cNvSpPr>
          <p:nvPr>
            <p:ph/>
          </p:nvPr>
        </p:nvSpPr>
        <p:spPr>
          <a:xfrm>
            <a:off x="167652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80" name="PlaceHolder 6"/>
          <p:cNvSpPr>
            <a:spLocks noGrp="1"/>
          </p:cNvSpPr>
          <p:nvPr>
            <p:ph/>
          </p:nvPr>
        </p:nvSpPr>
        <p:spPr>
          <a:xfrm>
            <a:off x="878724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81" name="PlaceHolder 7"/>
          <p:cNvSpPr>
            <a:spLocks noGrp="1"/>
          </p:cNvSpPr>
          <p:nvPr>
            <p:ph/>
          </p:nvPr>
        </p:nvSpPr>
        <p:spPr>
          <a:xfrm>
            <a:off x="1589760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08" name="PlaceHolder 2"/>
          <p:cNvSpPr>
            <a:spLocks noGrp="1"/>
          </p:cNvSpPr>
          <p:nvPr>
            <p:ph type="subTitle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2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3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FB1C38A-5880-4F2F-ADF8-C491BFA19E4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laceHolder 1"/>
          <p:cNvSpPr>
            <a:spLocks noGrp="1"/>
          </p:cNvSpPr>
          <p:nvPr>
            <p:ph type="subTitle"/>
          </p:nvPr>
        </p:nvSpPr>
        <p:spPr>
          <a:xfrm>
            <a:off x="1676520" y="730080"/>
            <a:ext cx="21030840" cy="12288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7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8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19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3" name="PlaceHolder 4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5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6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7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29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0" name="PlaceHolder 3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2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3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4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5" name="PlaceHolder 5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7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8" name="PlaceHolder 3"/>
          <p:cNvSpPr>
            <a:spLocks noGrp="1"/>
          </p:cNvSpPr>
          <p:nvPr>
            <p:ph/>
          </p:nvPr>
        </p:nvSpPr>
        <p:spPr>
          <a:xfrm>
            <a:off x="878724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9" name="PlaceHolder 4"/>
          <p:cNvSpPr>
            <a:spLocks noGrp="1"/>
          </p:cNvSpPr>
          <p:nvPr>
            <p:ph/>
          </p:nvPr>
        </p:nvSpPr>
        <p:spPr>
          <a:xfrm>
            <a:off x="1589760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0" name="PlaceHolder 5"/>
          <p:cNvSpPr>
            <a:spLocks noGrp="1"/>
          </p:cNvSpPr>
          <p:nvPr>
            <p:ph/>
          </p:nvPr>
        </p:nvSpPr>
        <p:spPr>
          <a:xfrm>
            <a:off x="167652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1" name="PlaceHolder 6"/>
          <p:cNvSpPr>
            <a:spLocks noGrp="1"/>
          </p:cNvSpPr>
          <p:nvPr>
            <p:ph/>
          </p:nvPr>
        </p:nvSpPr>
        <p:spPr>
          <a:xfrm>
            <a:off x="878724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2" name="PlaceHolder 7"/>
          <p:cNvSpPr>
            <a:spLocks noGrp="1"/>
          </p:cNvSpPr>
          <p:nvPr>
            <p:ph/>
          </p:nvPr>
        </p:nvSpPr>
        <p:spPr>
          <a:xfrm>
            <a:off x="1589760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F63311D-78B5-4D78-8CC8-B6B86CF964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7" name="PlaceHolder 2"/>
          <p:cNvSpPr>
            <a:spLocks noGrp="1"/>
          </p:cNvSpPr>
          <p:nvPr>
            <p:ph type="subTitle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15A8BA5-6D9A-4FC8-9A36-6826AEA4CB9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9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AE9F816-5AFA-4BF4-9044-C3EBE4725AA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9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FD13A7A6-4BE1-478B-8ACA-B91918FE7C5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E75E6E57-6326-4823-B7F7-D19C08D4118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5B2883E-1A91-4C07-BA6A-4ABCD27C3A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laceHolder 1"/>
          <p:cNvSpPr>
            <a:spLocks noGrp="1"/>
          </p:cNvSpPr>
          <p:nvPr>
            <p:ph type="subTitle"/>
          </p:nvPr>
        </p:nvSpPr>
        <p:spPr>
          <a:xfrm>
            <a:off x="1676520" y="730080"/>
            <a:ext cx="21030840" cy="12288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866E54C-A88F-4E6A-BCAB-B582821EBF0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8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96F6ABC-BF3E-41BC-9604-CC839EEF06B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2" name="PlaceHolder 4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4B438F4B-2F95-466D-B202-AC5E5F6D589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4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5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6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A664528-CCCD-4B57-95CD-E2661828B44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B0B51BC-0835-4DDD-8628-051CE250A5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3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4" name="PlaceHolder 5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B9386802-2D0A-400E-977E-A4F6807CA5C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6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7" name="PlaceHolder 3"/>
          <p:cNvSpPr>
            <a:spLocks noGrp="1"/>
          </p:cNvSpPr>
          <p:nvPr>
            <p:ph/>
          </p:nvPr>
        </p:nvSpPr>
        <p:spPr>
          <a:xfrm>
            <a:off x="878724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8" name="PlaceHolder 4"/>
          <p:cNvSpPr>
            <a:spLocks noGrp="1"/>
          </p:cNvSpPr>
          <p:nvPr>
            <p:ph/>
          </p:nvPr>
        </p:nvSpPr>
        <p:spPr>
          <a:xfrm>
            <a:off x="1589760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9" name="PlaceHolder 5"/>
          <p:cNvSpPr>
            <a:spLocks noGrp="1"/>
          </p:cNvSpPr>
          <p:nvPr>
            <p:ph/>
          </p:nvPr>
        </p:nvSpPr>
        <p:spPr>
          <a:xfrm>
            <a:off x="167652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0" name="PlaceHolder 6"/>
          <p:cNvSpPr>
            <a:spLocks noGrp="1"/>
          </p:cNvSpPr>
          <p:nvPr>
            <p:ph/>
          </p:nvPr>
        </p:nvSpPr>
        <p:spPr>
          <a:xfrm>
            <a:off x="878724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1" name="PlaceHolder 7"/>
          <p:cNvSpPr>
            <a:spLocks noGrp="1"/>
          </p:cNvSpPr>
          <p:nvPr>
            <p:ph/>
          </p:nvPr>
        </p:nvSpPr>
        <p:spPr>
          <a:xfrm>
            <a:off x="1589760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19D87FA3-5EE7-4FD3-B532-62AA54305F5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5ECF97E-65B7-4DAB-BED6-441C640965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9491679A-C1F4-4324-9793-391107C5CBD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6" name="PlaceHolder 2"/>
          <p:cNvSpPr>
            <a:spLocks noGrp="1"/>
          </p:cNvSpPr>
          <p:nvPr>
            <p:ph type="subTitle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1D9C8DD4-5B24-4211-BC0E-18B6E25DD69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8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181D16D-B6D6-41C7-A680-E9C42834D09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0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1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8A4F6F78-D206-41F2-AA29-447B366F4D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BCBD7F6B-C008-4264-9634-F642A0ED4C6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PlaceHolder 1"/>
          <p:cNvSpPr>
            <a:spLocks noGrp="1"/>
          </p:cNvSpPr>
          <p:nvPr>
            <p:ph type="subTitle"/>
          </p:nvPr>
        </p:nvSpPr>
        <p:spPr>
          <a:xfrm>
            <a:off x="1676520" y="730080"/>
            <a:ext cx="21030840" cy="12288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FF45E31-9697-4EC2-B5E8-816CDB10934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5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6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7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9940D785-286A-478A-AA2B-1B637D3BD0B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9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0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1" name="PlaceHolder 4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BCDB3034-AA50-4F59-9C9A-0DBF13ED7C9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3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4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5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4A425AB-4F25-4D69-ABD0-5730714AC34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BE244EE4-1717-4DE0-82F5-F260B5C7684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0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1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2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3" name="PlaceHolder 5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D9B299A1-6AF1-4620-A0DF-1C7824DD226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subTitle"/>
          </p:nvPr>
        </p:nvSpPr>
        <p:spPr>
          <a:xfrm>
            <a:off x="1676520" y="730080"/>
            <a:ext cx="21030840" cy="12288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7C0654C-2F34-42C3-ADF4-2E29DC28D33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/>
          </p:nvPr>
        </p:nvSpPr>
        <p:spPr>
          <a:xfrm>
            <a:off x="878724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/>
          </p:nvPr>
        </p:nvSpPr>
        <p:spPr>
          <a:xfrm>
            <a:off x="15897600" y="365112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8" name="PlaceHolder 5"/>
          <p:cNvSpPr>
            <a:spLocks noGrp="1"/>
          </p:cNvSpPr>
          <p:nvPr>
            <p:ph/>
          </p:nvPr>
        </p:nvSpPr>
        <p:spPr>
          <a:xfrm>
            <a:off x="167652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9" name="PlaceHolder 6"/>
          <p:cNvSpPr>
            <a:spLocks noGrp="1"/>
          </p:cNvSpPr>
          <p:nvPr>
            <p:ph/>
          </p:nvPr>
        </p:nvSpPr>
        <p:spPr>
          <a:xfrm>
            <a:off x="878724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20" name="PlaceHolder 7"/>
          <p:cNvSpPr>
            <a:spLocks noGrp="1"/>
          </p:cNvSpPr>
          <p:nvPr>
            <p:ph/>
          </p:nvPr>
        </p:nvSpPr>
        <p:spPr>
          <a:xfrm>
            <a:off x="15897600" y="8196480"/>
            <a:ext cx="677160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351F0FA4-ED31-4820-8EE1-92F1D2CA5F2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5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5C6CA715-BFD6-4B6C-B722-20F299C051D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8702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9" name="PlaceHolder 4"/>
          <p:cNvSpPr>
            <a:spLocks noGrp="1"/>
          </p:cNvSpPr>
          <p:nvPr>
            <p:ph/>
          </p:nvPr>
        </p:nvSpPr>
        <p:spPr>
          <a:xfrm>
            <a:off x="12452760" y="819648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5E743270-EFF1-4BE3-AD93-8DA1A17F9D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0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/>
          </p:nvPr>
        </p:nvSpPr>
        <p:spPr>
          <a:xfrm>
            <a:off x="167652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/>
          </p:nvPr>
        </p:nvSpPr>
        <p:spPr>
          <a:xfrm>
            <a:off x="12452760" y="3651120"/>
            <a:ext cx="1026288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3" name="PlaceHolder 4"/>
          <p:cNvSpPr>
            <a:spLocks noGrp="1"/>
          </p:cNvSpPr>
          <p:nvPr>
            <p:ph/>
          </p:nvPr>
        </p:nvSpPr>
        <p:spPr>
          <a:xfrm>
            <a:off x="1676520" y="8196480"/>
            <a:ext cx="21030840" cy="4150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ru-RU" sz="5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EB8C58CF-60B2-4F69-B7BE-229FF1C56D1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34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 1"/>
          <p:cNvSpPr>
            <a:spLocks noGrp="1"/>
          </p:cNvSpPr>
          <p:nvPr>
            <p:ph type="sldNum" idx="1"/>
          </p:nvPr>
        </p:nvSpPr>
        <p:spPr>
          <a:xfrm>
            <a:off x="11946960" y="13080960"/>
            <a:ext cx="477360" cy="471600"/>
          </a:xfrm>
          <a:prstGeom prst="rect">
            <a:avLst/>
          </a:prstGeom>
          <a:noFill/>
          <a:ln w="12600">
            <a:noFill/>
          </a:ln>
        </p:spPr>
        <p:txBody>
          <a:bodyPr lIns="50760" tIns="50760" rIns="50760" bIns="50760" anchor="t">
            <a:noAutofit/>
          </a:bodyPr>
          <a:lstStyle>
            <a:lvl1pPr algn="ctr">
              <a:lnSpc>
                <a:spcPct val="100000"/>
              </a:lnSpc>
              <a:buNone/>
              <a:tabLst>
                <a:tab pos="0" algn="l"/>
              </a:tabLst>
              <a:defRPr lang="ru-RU" sz="2400" b="0" strike="noStrike" spc="-1">
                <a:solidFill>
                  <a:srgbClr val="000000"/>
                </a:solidFill>
                <a:latin typeface="Helvetica Neue Light"/>
                <a:ea typeface="Helvetica Neue Light"/>
              </a:defRPr>
            </a:lvl1pPr>
          </a:lstStyle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fld id="{23D8A59F-4769-4756-8CB6-0C7D3AFAC4F8}" type="slidenum">
              <a:rPr lang="ru-RU" sz="2400" b="0" strike="noStrike" spc="-1">
                <a:solidFill>
                  <a:srgbClr val="000000"/>
                </a:solidFill>
                <a:latin typeface="Helvetica Neue Light"/>
                <a:ea typeface="Helvetica Neue Light"/>
              </a:rPr>
              <a:t>‹#›</a:t>
            </a:fld>
            <a:endParaRPr lang="ru-RU" sz="2400" b="0" strike="noStrike" spc="-1">
              <a:latin typeface="Times New Roman"/>
            </a:endParaRPr>
          </a:p>
        </p:txBody>
      </p:sp>
      <p:sp>
        <p:nvSpPr>
          <p:cNvPr id="4" name="PlaceHolder 2"/>
          <p:cNvSpPr>
            <a:spLocks noGrp="1"/>
          </p:cNvSpPr>
          <p:nvPr>
            <p:ph type="title"/>
          </p:nvPr>
        </p:nvSpPr>
        <p:spPr>
          <a:xfrm>
            <a:off x="1218960" y="547200"/>
            <a:ext cx="21944880" cy="2289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r>
              <a:rPr lang="ru-RU" sz="3000" b="0" strike="noStrike" spc="-1">
                <a:solidFill>
                  <a:srgbClr val="000000"/>
                </a:solidFill>
                <a:latin typeface="Helvetica Neue"/>
              </a:rPr>
              <a:t>Для правки текста заглавия щёлкните мышью</a:t>
            </a:r>
          </a:p>
        </p:txBody>
      </p:sp>
      <p:sp>
        <p:nvSpPr>
          <p:cNvPr id="2" name="PlaceHolder 3"/>
          <p:cNvSpPr>
            <a:spLocks noGrp="1"/>
          </p:cNvSpPr>
          <p:nvPr>
            <p:ph type="body"/>
          </p:nvPr>
        </p:nvSpPr>
        <p:spPr>
          <a:xfrm>
            <a:off x="1218960" y="3209400"/>
            <a:ext cx="21944880" cy="7954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Для правки структуры щёлкните мышью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Второй уровень структуры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Третий уровень структуры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Четвёртый уровень структуры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Пятый уровень структуры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Шестой уровень структуры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/>
    <p:bodyStyle/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Рисунок 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0" name="Object 2"/>
          <p:cNvGraphicFramePr/>
          <p:nvPr/>
        </p:nvGraphicFramePr>
        <p:xfrm>
          <a:off x="4320" y="3240"/>
          <a:ext cx="3960" cy="28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1" name="Object 2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4320" y="3240"/>
                        <a:ext cx="3960" cy="28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1689120" y="355680"/>
            <a:ext cx="21005280" cy="2285640"/>
          </a:xfrm>
          <a:prstGeom prst="rect">
            <a:avLst/>
          </a:prstGeom>
          <a:noFill/>
          <a:ln w="12600">
            <a:noFill/>
          </a:ln>
        </p:spPr>
        <p:txBody>
          <a:bodyPr lIns="50760" tIns="50760" rIns="50760" bIns="5076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en-US" sz="11200" b="0" strike="noStrike" spc="-1">
                <a:solidFill>
                  <a:srgbClr val="000000"/>
                </a:solidFill>
                <a:latin typeface="Helvetica Neue Medium"/>
                <a:ea typeface="Helvetica Neue Medium"/>
              </a:rPr>
              <a:t>Click to edit master title style</a:t>
            </a:r>
            <a:endParaRPr lang="ru-RU" sz="112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43" name="Slide Number"/>
          <p:cNvSpPr/>
          <p:nvPr/>
        </p:nvSpPr>
        <p:spPr>
          <a:xfrm>
            <a:off x="22833720" y="13223880"/>
            <a:ext cx="1261440" cy="365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fld id="{3DD1DF7C-15A0-46F0-8778-3B494A850353}" type="slidenum">
              <a:rPr lang="ru-RU" sz="2040" b="1" strike="noStrike" spc="-1">
                <a:solidFill>
                  <a:srgbClr val="808080"/>
                </a:solidFill>
                <a:latin typeface="Helvetica Neue Medium"/>
                <a:ea typeface="Helvetica Neue"/>
              </a:rPr>
              <a:t>‹#›</a:t>
            </a:fld>
            <a:endParaRPr lang="ru-RU" sz="2040" b="0" strike="noStrike" spc="-1">
              <a:latin typeface="XO Oriel"/>
            </a:endParaRPr>
          </a:p>
        </p:txBody>
      </p:sp>
      <p:pic>
        <p:nvPicPr>
          <p:cNvPr id="44" name="Рисунок 4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5" name="PlaceHolder 2"/>
          <p:cNvSpPr>
            <a:spLocks noGrp="1"/>
          </p:cNvSpPr>
          <p:nvPr>
            <p:ph type="body"/>
          </p:nvPr>
        </p:nvSpPr>
        <p:spPr>
          <a:xfrm>
            <a:off x="1218960" y="3209400"/>
            <a:ext cx="21944880" cy="7954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Для правки структуры щёлкните мышью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Второй уровень структуры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Третий уровень структуры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5200" b="0" strike="noStrike" spc="-1">
                <a:solidFill>
                  <a:srgbClr val="000000"/>
                </a:solidFill>
                <a:latin typeface="Helvetica Neue"/>
              </a:rPr>
              <a:t>Четвёртый уровень структуры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Пятый уровень структуры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Шестой уровень структуры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Helvetica Neue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/>
    <p:bodyStyle/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Рисунок 81"/>
          <p:cNvPicPr/>
          <p:nvPr/>
        </p:nvPicPr>
        <p:blipFill>
          <a:blip r:embed="rId15"/>
          <a:stretch/>
        </p:blipFill>
        <p:spPr>
          <a:xfrm>
            <a:off x="360" y="0"/>
            <a:ext cx="431640" cy="317520"/>
          </a:xfrm>
          <a:prstGeom prst="rect">
            <a:avLst/>
          </a:prstGeom>
          <a:ln w="0">
            <a:noFill/>
          </a:ln>
        </p:spPr>
      </p:pic>
      <p:pic>
        <p:nvPicPr>
          <p:cNvPr id="83" name="Рисунок 82"/>
          <p:cNvPicPr/>
          <p:nvPr/>
        </p:nvPicPr>
        <p:blipFill>
          <a:blip r:embed="rId1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84" name="Object 1"/>
          <p:cNvGraphicFramePr/>
          <p:nvPr/>
        </p:nvGraphicFramePr>
        <p:xfrm>
          <a:off x="0" y="0"/>
          <a:ext cx="431640" cy="323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85" name="Object 1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0" y="0"/>
                        <a:ext cx="431640" cy="32364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Rectangle 5" hidden="1"/>
          <p:cNvSpPr/>
          <p:nvPr/>
        </p:nvSpPr>
        <p:spPr>
          <a:xfrm>
            <a:off x="0" y="0"/>
            <a:ext cx="431640" cy="323640"/>
          </a:xfrm>
          <a:prstGeom prst="rect">
            <a:avLst/>
          </a:prstGeom>
          <a:solidFill>
            <a:schemeClr val="bg2"/>
          </a:solidFill>
          <a:ln w="9525">
            <a:solidFill>
              <a:srgbClr val="80808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87" name="1. On-page tracker" hidden="1"/>
          <p:cNvSpPr/>
          <p:nvPr/>
        </p:nvSpPr>
        <p:spPr>
          <a:xfrm>
            <a:off x="264600" y="92520"/>
            <a:ext cx="1368360" cy="305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2000" b="1" strike="noStrike" cap="all" spc="-1">
                <a:solidFill>
                  <a:srgbClr val="808080"/>
                </a:solidFill>
                <a:latin typeface="Helvetica Neue"/>
                <a:ea typeface="Helvetica Neue"/>
              </a:rPr>
              <a:t>Tracker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88" name="3. Unit of measure" hidden="1"/>
          <p:cNvSpPr/>
          <p:nvPr/>
        </p:nvSpPr>
        <p:spPr>
          <a:xfrm>
            <a:off x="324000" y="1359360"/>
            <a:ext cx="20737800" cy="6706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4400" b="1" strike="noStrike" spc="-1">
                <a:solidFill>
                  <a:srgbClr val="808080"/>
                </a:solidFill>
                <a:latin typeface="Arial"/>
                <a:ea typeface="Helvetica Neue"/>
              </a:rPr>
              <a:t>Unit of measure</a:t>
            </a:r>
            <a:endParaRPr lang="ru-RU" sz="4400" b="0" strike="noStrike" spc="-1">
              <a:latin typeface="XO Oriel"/>
            </a:endParaRPr>
          </a:p>
        </p:txBody>
      </p:sp>
      <p:grpSp>
        <p:nvGrpSpPr>
          <p:cNvPr id="89" name="Slide Elements"/>
          <p:cNvGrpSpPr/>
          <p:nvPr/>
        </p:nvGrpSpPr>
        <p:grpSpPr>
          <a:xfrm>
            <a:off x="324000" y="12892680"/>
            <a:ext cx="23450760" cy="639000"/>
            <a:chOff x="324000" y="12892680"/>
            <a:chExt cx="23450760" cy="639000"/>
          </a:xfrm>
        </p:grpSpPr>
        <p:sp>
          <p:nvSpPr>
            <p:cNvPr id="90" name="4. Footnote"/>
            <p:cNvSpPr/>
            <p:nvPr/>
          </p:nvSpPr>
          <p:spPr>
            <a:xfrm>
              <a:off x="324000" y="12892680"/>
              <a:ext cx="23450760" cy="3052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b">
              <a:spAutoFit/>
            </a:bodyPr>
            <a:lstStyle/>
            <a:p>
              <a:pPr marL="104760" indent="-104760"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2000" b="1" strike="noStrike" spc="-1">
                  <a:solidFill>
                    <a:srgbClr val="808080"/>
                  </a:solidFill>
                  <a:latin typeface="Arial"/>
                  <a:ea typeface="Helvetica Neue"/>
                </a:rPr>
                <a:t>1 Footnote</a:t>
              </a:r>
              <a:endParaRPr lang="ru-RU" sz="2000" b="0" strike="noStrike" spc="-1">
                <a:latin typeface="XO Oriel"/>
              </a:endParaRPr>
            </a:p>
          </p:txBody>
        </p:sp>
        <p:sp>
          <p:nvSpPr>
            <p:cNvPr id="91" name="5. Source"/>
            <p:cNvSpPr/>
            <p:nvPr/>
          </p:nvSpPr>
          <p:spPr>
            <a:xfrm>
              <a:off x="324000" y="13226400"/>
              <a:ext cx="19469880" cy="3052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b">
              <a:spAutoFit/>
            </a:bodyPr>
            <a:lstStyle/>
            <a:p>
              <a:pPr marL="1653120" indent="-1653120"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2000" b="1" strike="noStrike" spc="-1">
                  <a:solidFill>
                    <a:srgbClr val="808080"/>
                  </a:solidFill>
                  <a:latin typeface="Helvetica Neue"/>
                  <a:ea typeface="Helvetica Neue"/>
                </a:rPr>
                <a:t>ИСТОЧНИК: источник</a:t>
              </a:r>
              <a:endParaRPr lang="ru-RU" sz="2000" b="0" strike="noStrike" spc="-1">
                <a:latin typeface="XO Oriel"/>
              </a:endParaRPr>
            </a:p>
          </p:txBody>
        </p:sp>
      </p:grpSp>
      <p:grpSp>
        <p:nvGrpSpPr>
          <p:cNvPr id="92" name="ACET"/>
          <p:cNvGrpSpPr/>
          <p:nvPr/>
        </p:nvGrpSpPr>
        <p:grpSpPr>
          <a:xfrm>
            <a:off x="3952440" y="2610360"/>
            <a:ext cx="11602080" cy="995760"/>
            <a:chOff x="3952440" y="2610360"/>
            <a:chExt cx="11602080" cy="995760"/>
          </a:xfrm>
        </p:grpSpPr>
        <p:sp>
          <p:nvSpPr>
            <p:cNvPr id="93" name="AutoShape 249"/>
            <p:cNvSpPr/>
            <p:nvPr/>
          </p:nvSpPr>
          <p:spPr>
            <a:xfrm>
              <a:off x="3952440" y="3603240"/>
              <a:ext cx="11602080" cy="288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 w="9525">
              <a:solidFill>
                <a:srgbClr val="0A2896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94" name="AutoShape 250"/>
            <p:cNvSpPr/>
            <p:nvPr/>
          </p:nvSpPr>
          <p:spPr>
            <a:xfrm>
              <a:off x="3952440" y="2610360"/>
              <a:ext cx="11602080" cy="9928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18360" anchor="b">
              <a:spAutoFit/>
            </a:bodyPr>
            <a:lstStyle/>
            <a:p>
              <a:pPr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3200" b="1" strike="noStrike" spc="-1">
                  <a:solidFill>
                    <a:srgbClr val="0A2896"/>
                  </a:solidFill>
                  <a:latin typeface="Helvetica Neue"/>
                  <a:ea typeface="Helvetica Neue"/>
                </a:rPr>
                <a:t>Название документа</a:t>
              </a:r>
              <a:endParaRPr lang="ru-RU" sz="3200" b="0" strike="noStrike" spc="-1">
                <a:latin typeface="XO Oriel"/>
              </a:endParaRPr>
            </a:p>
            <a:p>
              <a:pPr algn="ct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3200" b="1" strike="noStrike" spc="-1">
                  <a:solidFill>
                    <a:srgbClr val="808080"/>
                  </a:solidFill>
                  <a:latin typeface="Helvetica Neue"/>
                  <a:ea typeface="Helvetica Neue"/>
                </a:rPr>
                <a:t>Unit of measure</a:t>
              </a:r>
              <a:endParaRPr lang="ru-RU" sz="3200" b="0" strike="noStrike" spc="-1">
                <a:latin typeface="XO Oriel"/>
              </a:endParaRPr>
            </a:p>
          </p:txBody>
        </p:sp>
      </p:grpSp>
      <p:grpSp>
        <p:nvGrpSpPr>
          <p:cNvPr id="95" name="McKSticker"/>
          <p:cNvGrpSpPr/>
          <p:nvPr/>
        </p:nvGrpSpPr>
        <p:grpSpPr>
          <a:xfrm>
            <a:off x="22553280" y="1361880"/>
            <a:ext cx="1287360" cy="370800"/>
            <a:chOff x="22553280" y="1361880"/>
            <a:chExt cx="1287360" cy="370800"/>
          </a:xfrm>
        </p:grpSpPr>
        <p:sp>
          <p:nvSpPr>
            <p:cNvPr id="96" name="StickerRectangle"/>
            <p:cNvSpPr/>
            <p:nvPr/>
          </p:nvSpPr>
          <p:spPr>
            <a:xfrm>
              <a:off x="22553280" y="1361880"/>
              <a:ext cx="1287360" cy="3319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wrap="none" lIns="27360" tIns="0" rIns="0" bIns="27360" anchor="t">
              <a:spAutoFit/>
            </a:bodyPr>
            <a:lstStyle/>
            <a:p>
              <a:pPr algn="r"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ru-RU" sz="2000" b="1" strike="noStrike" spc="-1">
                  <a:solidFill>
                    <a:srgbClr val="808080"/>
                  </a:solidFill>
                  <a:latin typeface="Helvetica Neue"/>
                  <a:ea typeface="Helvetica Neue"/>
                </a:rPr>
                <a:t>STICKER</a:t>
              </a:r>
              <a:endParaRPr lang="ru-RU" sz="2000" b="0" strike="noStrike" spc="-1">
                <a:latin typeface="XO Oriel"/>
              </a:endParaRPr>
            </a:p>
          </p:txBody>
        </p:sp>
        <p:sp>
          <p:nvSpPr>
            <p:cNvPr id="97" name="AutoShape 31"/>
            <p:cNvSpPr/>
            <p:nvPr/>
          </p:nvSpPr>
          <p:spPr>
            <a:xfrm>
              <a:off x="22586760" y="1361880"/>
              <a:ext cx="360" cy="37008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 w="9525">
              <a:solidFill>
                <a:srgbClr val="80808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98" name="AutoShape 32"/>
            <p:cNvSpPr/>
            <p:nvPr/>
          </p:nvSpPr>
          <p:spPr>
            <a:xfrm>
              <a:off x="22586760" y="1732320"/>
              <a:ext cx="1188000" cy="36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 w="25400">
              <a:solidFill>
                <a:srgbClr val="808080"/>
              </a:solidFill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pic>
        <p:nvPicPr>
          <p:cNvPr id="99" name="Изображение 10"/>
          <p:cNvPicPr/>
          <p:nvPr/>
        </p:nvPicPr>
        <p:blipFill>
          <a:blip r:embed="rId18"/>
          <a:srcRect l="11203" t="20667" r="16406" b="28633"/>
          <a:stretch/>
        </p:blipFill>
        <p:spPr>
          <a:xfrm>
            <a:off x="22000680" y="469800"/>
            <a:ext cx="1700280" cy="6800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00" name="Object 2"/>
          <p:cNvGraphicFramePr/>
          <p:nvPr/>
        </p:nvGraphicFramePr>
        <p:xfrm>
          <a:off x="4320" y="3240"/>
          <a:ext cx="3960" cy="28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101" name="Object 2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>
                      <a:xfrm>
                        <a:off x="4320" y="3240"/>
                        <a:ext cx="3960" cy="28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PlaceHolder 1"/>
          <p:cNvSpPr>
            <a:spLocks noGrp="1"/>
          </p:cNvSpPr>
          <p:nvPr>
            <p:ph type="title"/>
          </p:nvPr>
        </p:nvSpPr>
        <p:spPr>
          <a:xfrm>
            <a:off x="324000" y="469800"/>
            <a:ext cx="21367440" cy="697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731880" algn="l"/>
              </a:tabLst>
            </a:pPr>
            <a:r>
              <a:rPr lang="en-US" sz="4400" b="1" strike="noStrike" spc="-1">
                <a:solidFill>
                  <a:srgbClr val="0A2896"/>
                </a:solidFill>
                <a:latin typeface="Arial"/>
              </a:rPr>
              <a:t>Click to edit master title style</a:t>
            </a:r>
            <a:endParaRPr lang="ru-RU" sz="44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03" name="Slide Number"/>
          <p:cNvSpPr/>
          <p:nvPr/>
        </p:nvSpPr>
        <p:spPr>
          <a:xfrm>
            <a:off x="22998600" y="13284000"/>
            <a:ext cx="865440" cy="244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fld id="{1A284AB0-FA90-4898-9CD4-3BAAD000083F}" type="slidenum">
              <a:rPr lang="ru-RU" sz="1600" b="1" strike="noStrike" spc="-1">
                <a:solidFill>
                  <a:srgbClr val="808080"/>
                </a:solidFill>
                <a:latin typeface="Arial"/>
                <a:ea typeface="Helvetica Neue"/>
              </a:rPr>
              <a:t>‹#›</a:t>
            </a:fld>
            <a:endParaRPr lang="ru-RU" sz="1600" b="0" strike="noStrike" spc="-1">
              <a:latin typeface="XO Oriel"/>
            </a:endParaRPr>
          </a:p>
        </p:txBody>
      </p:sp>
      <p:pic>
        <p:nvPicPr>
          <p:cNvPr id="104" name="Рисунок 103"/>
          <p:cNvPicPr/>
          <p:nvPr/>
        </p:nvPicPr>
        <p:blipFill>
          <a:blip r:embed="rId15"/>
          <a:stretch/>
        </p:blipFill>
        <p:spPr>
          <a:xfrm>
            <a:off x="360" y="0"/>
            <a:ext cx="431640" cy="317520"/>
          </a:xfrm>
          <a:prstGeom prst="rect">
            <a:avLst/>
          </a:prstGeom>
          <a:ln w="0">
            <a:noFill/>
          </a:ln>
        </p:spPr>
      </p:pic>
      <p:pic>
        <p:nvPicPr>
          <p:cNvPr id="105" name="Рисунок 104"/>
          <p:cNvPicPr/>
          <p:nvPr/>
        </p:nvPicPr>
        <p:blipFill>
          <a:blip r:embed="rId1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06" name="PlaceHolder 2"/>
          <p:cNvSpPr>
            <a:spLocks noGrp="1"/>
          </p:cNvSpPr>
          <p:nvPr>
            <p:ph type="body"/>
          </p:nvPr>
        </p:nvSpPr>
        <p:spPr>
          <a:xfrm>
            <a:off x="1218960" y="3209400"/>
            <a:ext cx="21944880" cy="7954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32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32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32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32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/>
    <p:bodyStyle/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8800" b="0" strike="noStrike" spc="-1">
                <a:solidFill>
                  <a:srgbClr val="000000"/>
                </a:solidFill>
                <a:latin typeface="Muller Medium"/>
                <a:ea typeface="Muller Medium"/>
              </a:rPr>
              <a:t>Текст заголовка</a:t>
            </a:r>
            <a:endParaRPr lang="ru-RU" sz="88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4" name="PlaceHolder 2"/>
          <p:cNvSpPr>
            <a:spLocks noGrp="1"/>
          </p:cNvSpPr>
          <p:nvPr>
            <p:ph type="body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t">
            <a:noAutofit/>
          </a:bodyPr>
          <a:lstStyle/>
          <a:p>
            <a:pPr marL="457200" indent="-45720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1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990720" lvl="1" indent="-53352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2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1554480" lvl="2" indent="-64008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3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2082960" lvl="3" indent="-71136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4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2540160" lvl="4" indent="-71136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5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45" name="PlaceHolder 3"/>
          <p:cNvSpPr>
            <a:spLocks noGrp="1"/>
          </p:cNvSpPr>
          <p:nvPr>
            <p:ph type="sldNum" idx="2"/>
          </p:nvPr>
        </p:nvSpPr>
        <p:spPr>
          <a:xfrm>
            <a:off x="22166640" y="12802320"/>
            <a:ext cx="540720" cy="5508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>
            <a:lvl1pPr algn="r">
              <a:lnSpc>
                <a:spcPct val="100000"/>
              </a:lnSpc>
              <a:buNone/>
              <a:tabLst>
                <a:tab pos="0" algn="l"/>
              </a:tabLst>
              <a:defRPr lang="ru-RU" sz="2400" b="0" strike="noStrike" spc="-1">
                <a:solidFill>
                  <a:srgbClr val="888888"/>
                </a:solidFill>
                <a:latin typeface="Muller Regular"/>
                <a:ea typeface="Muller Regular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pos="0" algn="l"/>
              </a:tabLst>
            </a:pPr>
            <a:fld id="{96268203-B9E6-412B-8478-C9DCBE815DB8}" type="slidenum">
              <a:rPr lang="ru-RU" sz="2400" b="0" strike="noStrike" spc="-1">
                <a:solidFill>
                  <a:srgbClr val="888888"/>
                </a:solidFill>
                <a:latin typeface="Muller Regular"/>
                <a:ea typeface="Muller Regular"/>
              </a:rPr>
              <a:t>‹#›</a:t>
            </a:fld>
            <a:endParaRPr lang="ru-RU" sz="2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/>
    <p:bodyStyle/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PlaceHolder 1"/>
          <p:cNvSpPr>
            <a:spLocks noGrp="1"/>
          </p:cNvSpPr>
          <p:nvPr>
            <p:ph type="title"/>
          </p:nvPr>
        </p:nvSpPr>
        <p:spPr>
          <a:xfrm>
            <a:off x="1676520" y="730080"/>
            <a:ext cx="21030840" cy="265068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8800" b="0" strike="noStrike" spc="-1">
                <a:solidFill>
                  <a:srgbClr val="000000"/>
                </a:solidFill>
                <a:latin typeface="Muller Medium"/>
                <a:ea typeface="Muller Medium"/>
              </a:rPr>
              <a:t>Текст заголовка</a:t>
            </a:r>
            <a:endParaRPr lang="ru-RU" sz="88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3" name="PlaceHolder 2"/>
          <p:cNvSpPr>
            <a:spLocks noGrp="1"/>
          </p:cNvSpPr>
          <p:nvPr>
            <p:ph type="body"/>
          </p:nvPr>
        </p:nvSpPr>
        <p:spPr>
          <a:xfrm>
            <a:off x="1676520" y="3651120"/>
            <a:ext cx="21030840" cy="870228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t">
            <a:noAutofit/>
          </a:bodyPr>
          <a:lstStyle/>
          <a:p>
            <a:pPr marL="457200" indent="-45720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1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990720" lvl="1" indent="-53352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2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1554480" lvl="2" indent="-64008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3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2082960" lvl="3" indent="-71136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4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  <a:p>
            <a:pPr marL="2540160" lvl="4" indent="-711360">
              <a:lnSpc>
                <a:spcPct val="90000"/>
              </a:lnSpc>
              <a:spcBef>
                <a:spcPts val="2001"/>
              </a:spcBef>
              <a:buClr>
                <a:srgbClr val="000000"/>
              </a:buClr>
              <a:buFont typeface="Arial"/>
              <a:buChar char="•"/>
            </a:pPr>
            <a:r>
              <a:rPr lang="ru-RU" sz="5600" b="0" strike="noStrike" spc="-1">
                <a:solidFill>
                  <a:srgbClr val="000000"/>
                </a:solidFill>
                <a:latin typeface="Muller Regular"/>
                <a:ea typeface="Muller Regular"/>
              </a:rPr>
              <a:t>Уровень текста 5</a:t>
            </a:r>
            <a:endParaRPr lang="ru-RU" sz="560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184" name="PlaceHolder 3"/>
          <p:cNvSpPr>
            <a:spLocks noGrp="1"/>
          </p:cNvSpPr>
          <p:nvPr>
            <p:ph type="sldNum" idx="3"/>
          </p:nvPr>
        </p:nvSpPr>
        <p:spPr>
          <a:xfrm>
            <a:off x="22147920" y="12800880"/>
            <a:ext cx="559440" cy="55368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>
            <a:lvl1pPr algn="r">
              <a:lnSpc>
                <a:spcPct val="100000"/>
              </a:lnSpc>
              <a:buNone/>
              <a:tabLst>
                <a:tab pos="0" algn="l"/>
              </a:tabLst>
              <a:defRPr lang="ru-RU" sz="2400" b="0" strike="noStrike" spc="-1">
                <a:solidFill>
                  <a:srgbClr val="888888"/>
                </a:solidFill>
                <a:latin typeface="Muller Regular"/>
                <a:ea typeface="Muller Regular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pos="0" algn="l"/>
              </a:tabLst>
            </a:pPr>
            <a:fld id="{494BA387-3DE2-4745-8B39-B24572EE6BBF}" type="slidenum">
              <a:rPr lang="ru-RU" sz="2400" b="0" strike="noStrike" spc="-1">
                <a:solidFill>
                  <a:srgbClr val="888888"/>
                </a:solidFill>
                <a:latin typeface="Muller Regular"/>
                <a:ea typeface="Muller Regular"/>
              </a:rPr>
              <a:t>‹#›</a:t>
            </a:fld>
            <a:endParaRPr lang="ru-RU" sz="2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comments" Target="../comments/commen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w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Рисунок 5"/>
          <p:cNvPicPr/>
          <p:nvPr/>
        </p:nvPicPr>
        <p:blipFill>
          <a:blip r:embed="rId2"/>
          <a:srcRect t="9390" r="9387"/>
          <a:stretch/>
        </p:blipFill>
        <p:spPr>
          <a:xfrm>
            <a:off x="0" y="0"/>
            <a:ext cx="24383520" cy="14135400"/>
          </a:xfrm>
          <a:prstGeom prst="rect">
            <a:avLst/>
          </a:prstGeom>
          <a:ln w="0">
            <a:noFill/>
          </a:ln>
        </p:spPr>
      </p:pic>
      <p:sp>
        <p:nvSpPr>
          <p:cNvPr id="228" name="Прямоугольник 10"/>
          <p:cNvSpPr/>
          <p:nvPr/>
        </p:nvSpPr>
        <p:spPr>
          <a:xfrm>
            <a:off x="984600" y="9252720"/>
            <a:ext cx="15931440" cy="2284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7200" b="1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Стажировка </a:t>
            </a:r>
            <a:r>
              <a:rPr lang="ru-RU" sz="72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ВТБ Юниор </a:t>
            </a:r>
            <a:endParaRPr lang="ru-RU" sz="7200" b="0" strike="noStrike" spc="-1">
              <a:latin typeface="XO Orie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72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в сети банка</a:t>
            </a:r>
            <a:endParaRPr lang="ru-RU" sz="7200" b="0" strike="noStrike" spc="-1">
              <a:latin typeface="XO Oriel"/>
            </a:endParaRPr>
          </a:p>
        </p:txBody>
      </p:sp>
      <p:pic>
        <p:nvPicPr>
          <p:cNvPr id="229" name="Рисунок 7"/>
          <p:cNvPicPr/>
          <p:nvPr/>
        </p:nvPicPr>
        <p:blipFill>
          <a:blip r:embed="rId3"/>
          <a:stretch/>
        </p:blipFill>
        <p:spPr>
          <a:xfrm>
            <a:off x="185760" y="467280"/>
            <a:ext cx="4173840" cy="23900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E1DFF"/>
            </a:gs>
            <a:gs pos="100000">
              <a:srgbClr val="092082"/>
            </a:gs>
          </a:gsLst>
          <a:lin ang="135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Линия"/>
          <p:cNvSpPr/>
          <p:nvPr/>
        </p:nvSpPr>
        <p:spPr>
          <a:xfrm>
            <a:off x="2072160" y="2478600"/>
            <a:ext cx="0" cy="11800440"/>
          </a:xfrm>
          <a:prstGeom prst="line">
            <a:avLst/>
          </a:prstGeom>
          <a:ln w="63500">
            <a:solidFill>
              <a:srgbClr val="1A9FD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5" name="Кружок"/>
          <p:cNvSpPr/>
          <p:nvPr/>
        </p:nvSpPr>
        <p:spPr>
          <a:xfrm>
            <a:off x="865800" y="143316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6" name="TextBox 25"/>
          <p:cNvSpPr/>
          <p:nvPr/>
        </p:nvSpPr>
        <p:spPr>
          <a:xfrm>
            <a:off x="1419480" y="2370240"/>
            <a:ext cx="1305720" cy="731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ctr"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6000" b="1" strike="noStrike" spc="-60">
                <a:solidFill>
                  <a:srgbClr val="00A1E2"/>
                </a:solidFill>
                <a:latin typeface="VTB Group Cond Book"/>
                <a:ea typeface="VTB Group Cond Book"/>
              </a:rPr>
              <a:t>01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67" name="Кружок"/>
          <p:cNvSpPr/>
          <p:nvPr/>
        </p:nvSpPr>
        <p:spPr>
          <a:xfrm>
            <a:off x="865800" y="565164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68" name="TextBox 25"/>
          <p:cNvSpPr/>
          <p:nvPr/>
        </p:nvSpPr>
        <p:spPr>
          <a:xfrm>
            <a:off x="1419480" y="6608520"/>
            <a:ext cx="1305720" cy="731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ctr"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6000" b="1" strike="noStrike" spc="-60">
                <a:solidFill>
                  <a:srgbClr val="00A1E2"/>
                </a:solidFill>
                <a:latin typeface="VTB Group Cond Book"/>
                <a:ea typeface="VTB Group Cond Book"/>
              </a:rPr>
              <a:t>02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69" name="Кружок"/>
          <p:cNvSpPr/>
          <p:nvPr/>
        </p:nvSpPr>
        <p:spPr>
          <a:xfrm>
            <a:off x="865800" y="986976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70" name="TextBox 25"/>
          <p:cNvSpPr/>
          <p:nvPr/>
        </p:nvSpPr>
        <p:spPr>
          <a:xfrm>
            <a:off x="1419480" y="10826640"/>
            <a:ext cx="1305720" cy="731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ctr"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6000" b="1" strike="noStrike" spc="-60">
                <a:solidFill>
                  <a:srgbClr val="00A1E2"/>
                </a:solidFill>
                <a:latin typeface="VTB Group Cond Book"/>
                <a:ea typeface="VTB Group Cond Book"/>
              </a:rPr>
              <a:t>03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71" name="TextBox 25"/>
          <p:cNvSpPr/>
          <p:nvPr/>
        </p:nvSpPr>
        <p:spPr>
          <a:xfrm>
            <a:off x="3828960" y="2018880"/>
            <a:ext cx="5079600" cy="8780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Приём </a:t>
            </a:r>
            <a:r>
              <a:rPr sz="3600"/>
              <a:t/>
            </a:r>
            <a:br>
              <a:rPr sz="3600"/>
            </a:b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заявок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72" name="Отправьте своё резюме на сайт ВТБ"/>
          <p:cNvSpPr/>
          <p:nvPr/>
        </p:nvSpPr>
        <p:spPr>
          <a:xfrm>
            <a:off x="3828960" y="2972520"/>
            <a:ext cx="4475160" cy="4878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Отправьте своё резюме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73" name="TextBox 25"/>
          <p:cNvSpPr/>
          <p:nvPr/>
        </p:nvSpPr>
        <p:spPr>
          <a:xfrm>
            <a:off x="3828960" y="6027480"/>
            <a:ext cx="4826160" cy="8780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Скрининг резюме </a:t>
            </a:r>
            <a:r>
              <a:rPr sz="3600"/>
              <a:t/>
            </a:r>
            <a:br>
              <a:rPr sz="3600"/>
            </a:b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и интервью с </a:t>
            </a:r>
            <a:r>
              <a:rPr lang="en-US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HR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74" name="Устно ответьте на вопросы о себе"/>
          <p:cNvSpPr/>
          <p:nvPr/>
        </p:nvSpPr>
        <p:spPr>
          <a:xfrm>
            <a:off x="3828960" y="7134840"/>
            <a:ext cx="4241160" cy="975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Устно ответьте на вопросы о себе 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75" name="TextBox 25"/>
          <p:cNvSpPr/>
          <p:nvPr/>
        </p:nvSpPr>
        <p:spPr>
          <a:xfrm>
            <a:off x="3802320" y="10690920"/>
            <a:ext cx="5079600" cy="4392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Видеоинтервью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76" name="Анализируйте вербальную и цифровую информацию"/>
          <p:cNvSpPr/>
          <p:nvPr/>
        </p:nvSpPr>
        <p:spPr>
          <a:xfrm>
            <a:off x="3802320" y="11359440"/>
            <a:ext cx="4964040" cy="19494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Ответьте на вопросы о себе на специализированной платформе </a:t>
            </a:r>
            <a:endParaRPr lang="ru-RU" sz="3200" b="0" strike="noStrike" spc="-1">
              <a:latin typeface="XO Oriel"/>
            </a:endParaRPr>
          </a:p>
        </p:txBody>
      </p:sp>
      <p:pic>
        <p:nvPicPr>
          <p:cNvPr id="377" name="Рисунок 2"/>
          <p:cNvPicPr/>
          <p:nvPr/>
        </p:nvPicPr>
        <p:blipFill>
          <a:blip r:embed="rId2"/>
          <a:stretch/>
        </p:blipFill>
        <p:spPr>
          <a:xfrm>
            <a:off x="12638880" y="2478600"/>
            <a:ext cx="10606320" cy="11570400"/>
          </a:xfrm>
          <a:prstGeom prst="rect">
            <a:avLst/>
          </a:prstGeom>
          <a:ln w="0">
            <a:noFill/>
          </a:ln>
        </p:spPr>
      </p:pic>
      <p:sp>
        <p:nvSpPr>
          <p:cNvPr id="378" name="Заголовок 1"/>
          <p:cNvSpPr/>
          <p:nvPr/>
        </p:nvSpPr>
        <p:spPr>
          <a:xfrm>
            <a:off x="10667880" y="1166760"/>
            <a:ext cx="12576960" cy="1004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Пройдите 5 этапов отбора</a:t>
            </a:r>
            <a:endParaRPr lang="ru-RU" sz="6000" b="0" strike="noStrike" spc="-1">
              <a:latin typeface="XO Orie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E1DFF"/>
            </a:gs>
            <a:gs pos="100000">
              <a:srgbClr val="092082"/>
            </a:gs>
          </a:gsLst>
          <a:lin ang="135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9" name="Рисунок 2"/>
          <p:cNvPicPr/>
          <p:nvPr/>
        </p:nvPicPr>
        <p:blipFill>
          <a:blip r:embed="rId2"/>
          <a:stretch/>
        </p:blipFill>
        <p:spPr>
          <a:xfrm>
            <a:off x="12638880" y="2478600"/>
            <a:ext cx="10606320" cy="11570400"/>
          </a:xfrm>
          <a:prstGeom prst="rect">
            <a:avLst/>
          </a:prstGeom>
          <a:ln w="0">
            <a:noFill/>
          </a:ln>
        </p:spPr>
      </p:pic>
      <p:sp>
        <p:nvSpPr>
          <p:cNvPr id="380" name="Заголовок 1"/>
          <p:cNvSpPr/>
          <p:nvPr/>
        </p:nvSpPr>
        <p:spPr>
          <a:xfrm>
            <a:off x="10667880" y="1166760"/>
            <a:ext cx="12576960" cy="1004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Пройдите 5 этапов отбора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81" name="Линия"/>
          <p:cNvSpPr/>
          <p:nvPr/>
        </p:nvSpPr>
        <p:spPr>
          <a:xfrm>
            <a:off x="2318040" y="-533160"/>
            <a:ext cx="0" cy="11800080"/>
          </a:xfrm>
          <a:prstGeom prst="line">
            <a:avLst/>
          </a:prstGeom>
          <a:ln w="63500">
            <a:solidFill>
              <a:srgbClr val="1A9FDF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2" name="Кружок"/>
          <p:cNvSpPr/>
          <p:nvPr/>
        </p:nvSpPr>
        <p:spPr>
          <a:xfrm>
            <a:off x="1112040" y="143316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3" name="TextBox 25"/>
          <p:cNvSpPr/>
          <p:nvPr/>
        </p:nvSpPr>
        <p:spPr>
          <a:xfrm>
            <a:off x="1665360" y="2370240"/>
            <a:ext cx="1305720" cy="731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ctr"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6000" b="1" strike="noStrike" spc="-60">
                <a:solidFill>
                  <a:srgbClr val="00A1E2"/>
                </a:solidFill>
                <a:latin typeface="VTB Group Cond Book"/>
                <a:ea typeface="VTB Group Cond Book"/>
              </a:rPr>
              <a:t>04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84" name="Кружок"/>
          <p:cNvSpPr/>
          <p:nvPr/>
        </p:nvSpPr>
        <p:spPr>
          <a:xfrm>
            <a:off x="1112040" y="565164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5" name="Сквиркл"/>
          <p:cNvSpPr/>
          <p:nvPr/>
        </p:nvSpPr>
        <p:spPr>
          <a:xfrm>
            <a:off x="1112040" y="9869760"/>
            <a:ext cx="8936640" cy="2412720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6" name="TextBox 25"/>
          <p:cNvSpPr/>
          <p:nvPr/>
        </p:nvSpPr>
        <p:spPr>
          <a:xfrm>
            <a:off x="1665360" y="6608520"/>
            <a:ext cx="1305720" cy="731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ctr"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6000" b="1" strike="noStrike" spc="-60">
                <a:solidFill>
                  <a:srgbClr val="00A1E2"/>
                </a:solidFill>
                <a:latin typeface="VTB Group Cond Book"/>
                <a:ea typeface="VTB Group Cond Book"/>
              </a:rPr>
              <a:t>05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87" name="Кружок"/>
          <p:cNvSpPr/>
          <p:nvPr/>
        </p:nvSpPr>
        <p:spPr>
          <a:xfrm>
            <a:off x="1112040" y="9869760"/>
            <a:ext cx="2412720" cy="2412720"/>
          </a:xfrm>
          <a:prstGeom prst="ellipse">
            <a:avLst/>
          </a:prstGeom>
          <a:solidFill>
            <a:srgbClr val="FFFFFF"/>
          </a:solidFill>
          <a:ln w="12700">
            <a:noFill/>
          </a:ln>
          <a:effectLst>
            <a:outerShdw blurRad="698400" dist="316080" rotWithShape="0">
              <a:srgbClr val="000000">
                <a:alpha val="11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8" name="TextBox 25"/>
          <p:cNvSpPr/>
          <p:nvPr/>
        </p:nvSpPr>
        <p:spPr>
          <a:xfrm>
            <a:off x="4201560" y="2106360"/>
            <a:ext cx="5079600" cy="4392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Онлайн-тестирование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89" name="Пройдите групповое тестирование или игру"/>
          <p:cNvSpPr/>
          <p:nvPr/>
        </p:nvSpPr>
        <p:spPr>
          <a:xfrm>
            <a:off x="4201560" y="2762280"/>
            <a:ext cx="4475160" cy="20772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Пройдите тесты на анализ вербальной и числовой информации</a:t>
            </a:r>
            <a:endParaRPr lang="ru-RU" sz="3200" b="0" strike="noStrike" spc="-1">
              <a:latin typeface="XO Oriel"/>
            </a:endParaRPr>
          </a:p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 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90" name="TextBox 25"/>
          <p:cNvSpPr/>
          <p:nvPr/>
        </p:nvSpPr>
        <p:spPr>
          <a:xfrm>
            <a:off x="4201560" y="5446800"/>
            <a:ext cx="4826160" cy="13168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FFFFFF"/>
                </a:solidFill>
                <a:latin typeface="VTB Group Cond Light"/>
                <a:ea typeface="VTB Group Cond Book"/>
              </a:rPr>
              <a:t>Центр оценки или интервью  с нанимающим менеджером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91" name="Расскажите о своих знаниях менеджеру отдела"/>
          <p:cNvSpPr/>
          <p:nvPr/>
        </p:nvSpPr>
        <p:spPr>
          <a:xfrm>
            <a:off x="4201560" y="6980760"/>
            <a:ext cx="4964040" cy="14626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FFFFFF"/>
                </a:solidFill>
                <a:latin typeface="VTB Group Cond Light"/>
                <a:ea typeface="VTB Group Cond Book"/>
              </a:rPr>
              <a:t>Примите участие в центре оценки и/или интервью с будущем руководителем 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92" name="TextBox 25"/>
          <p:cNvSpPr/>
          <p:nvPr/>
        </p:nvSpPr>
        <p:spPr>
          <a:xfrm>
            <a:off x="4201560" y="10343520"/>
            <a:ext cx="5079600" cy="4392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600" b="1" strike="noStrike" spc="-35">
                <a:solidFill>
                  <a:srgbClr val="00A2FF"/>
                </a:solidFill>
                <a:latin typeface="VTB Group Cond Light"/>
                <a:ea typeface="VTB Group Cond Book"/>
              </a:rPr>
              <a:t>Получите оффер</a:t>
            </a:r>
            <a:endParaRPr lang="ru-RU" sz="3600" b="0" strike="noStrike" spc="-1">
              <a:latin typeface="XO Oriel"/>
            </a:endParaRPr>
          </a:p>
        </p:txBody>
      </p:sp>
      <p:sp>
        <p:nvSpPr>
          <p:cNvPr id="393" name="Мы рады видеть вас  в наших рядах"/>
          <p:cNvSpPr/>
          <p:nvPr/>
        </p:nvSpPr>
        <p:spPr>
          <a:xfrm>
            <a:off x="4201560" y="10999440"/>
            <a:ext cx="4964040" cy="975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0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29">
                <a:solidFill>
                  <a:srgbClr val="000000"/>
                </a:solidFill>
                <a:latin typeface="VTB Group Cond Light"/>
                <a:ea typeface="VTB Group Cond Book"/>
              </a:rPr>
              <a:t>Мы рады видеть вас </a:t>
            </a:r>
            <a:r>
              <a:rPr sz="3200"/>
              <a:t/>
            </a:r>
            <a:br>
              <a:rPr sz="3200"/>
            </a:br>
            <a:r>
              <a:rPr lang="ru-RU" sz="3200" b="0" strike="noStrike" spc="-29">
                <a:solidFill>
                  <a:srgbClr val="000000"/>
                </a:solidFill>
                <a:latin typeface="VTB Group Cond Light"/>
                <a:ea typeface="VTB Group Cond Book"/>
              </a:rPr>
              <a:t>в наших рядах</a:t>
            </a:r>
            <a:endParaRPr lang="ru-RU" sz="3200" b="0" strike="noStrike" spc="-1">
              <a:latin typeface="XO Oriel"/>
            </a:endParaRPr>
          </a:p>
        </p:txBody>
      </p:sp>
      <p:pic>
        <p:nvPicPr>
          <p:cNvPr id="394" name="Рисунок 1"/>
          <p:cNvPicPr/>
          <p:nvPr/>
        </p:nvPicPr>
        <p:blipFill>
          <a:blip r:embed="rId3"/>
          <a:stretch/>
        </p:blipFill>
        <p:spPr>
          <a:xfrm>
            <a:off x="1488600" y="10339200"/>
            <a:ext cx="1662480" cy="1403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E1DFF"/>
            </a:gs>
            <a:gs pos="100000">
              <a:srgbClr val="092082"/>
            </a:gs>
          </a:gsLst>
          <a:lin ang="135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PlaceHolder 1"/>
          <p:cNvSpPr>
            <a:spLocks noGrp="1"/>
          </p:cNvSpPr>
          <p:nvPr>
            <p:ph type="title"/>
          </p:nvPr>
        </p:nvSpPr>
        <p:spPr>
          <a:xfrm>
            <a:off x="2532240" y="1319040"/>
            <a:ext cx="20081160" cy="24732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 algn="ctr"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Заполните форму и станьте частью команды ВТБ!</a:t>
            </a:r>
            <a:endParaRPr lang="ru-RU" sz="6000" b="0" strike="noStrike" spc="-1">
              <a:solidFill>
                <a:srgbClr val="000000"/>
              </a:solidFill>
              <a:latin typeface="Helvetica Neue"/>
            </a:endParaRPr>
          </a:p>
        </p:txBody>
      </p:sp>
      <p:pic>
        <p:nvPicPr>
          <p:cNvPr id="396" name="Рисунок 395"/>
          <p:cNvPicPr/>
          <p:nvPr/>
        </p:nvPicPr>
        <p:blipFill>
          <a:blip r:embed="rId2"/>
          <a:srcRect l="36524" t="36535" r="41821" b="23216"/>
          <a:stretch/>
        </p:blipFill>
        <p:spPr>
          <a:xfrm>
            <a:off x="10080000" y="4140000"/>
            <a:ext cx="5220000" cy="5457240"/>
          </a:xfrm>
          <a:prstGeom prst="rect">
            <a:avLst/>
          </a:prstGeom>
          <a:ln w="0">
            <a:noFill/>
          </a:ln>
        </p:spPr>
      </p:pic>
      <p:sp>
        <p:nvSpPr>
          <p:cNvPr id="397" name="Заголовок 2"/>
          <p:cNvSpPr txBox="1"/>
          <p:nvPr/>
        </p:nvSpPr>
        <p:spPr>
          <a:xfrm>
            <a:off x="2778840" y="10306800"/>
            <a:ext cx="20081160" cy="24732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 algn="ctr"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Подробную информацию о вакансиях ВТБ можно получить у HR-менеджера, </a:t>
            </a:r>
            <a:r>
              <a:rPr sz="2800"/>
              <a:t/>
            </a:r>
            <a:br>
              <a:rPr sz="2800"/>
            </a:br>
            <a:r>
              <a:rPr lang="ru-RU" sz="28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Мурзоевой Юлии +7(923)686-5666, murzoeva@vtb.ru</a:t>
            </a:r>
            <a:endParaRPr lang="ru-RU" sz="28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Скругленный прямоугольник 70"/>
          <p:cNvSpPr/>
          <p:nvPr/>
        </p:nvSpPr>
        <p:spPr>
          <a:xfrm>
            <a:off x="637200" y="1775520"/>
            <a:ext cx="11810880" cy="4808160"/>
          </a:xfrm>
          <a:prstGeom prst="roundRect">
            <a:avLst>
              <a:gd name="adj" fmla="val 6727"/>
            </a:avLst>
          </a:prstGeom>
          <a:gradFill rotWithShape="0">
            <a:gsLst>
              <a:gs pos="0">
                <a:srgbClr val="092082"/>
              </a:gs>
              <a:gs pos="100000">
                <a:srgbClr val="002AA0"/>
              </a:gs>
            </a:gsLst>
            <a:lin ang="5400000"/>
          </a:gradFill>
          <a:ln w="476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aphicFrame>
        <p:nvGraphicFramePr>
          <p:cNvPr id="231" name="Объект 2"/>
          <p:cNvGraphicFramePr/>
          <p:nvPr/>
        </p:nvGraphicFramePr>
        <p:xfrm>
          <a:off x="3600" y="3240"/>
          <a:ext cx="2880" cy="28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32" name="Объект 2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>
                      <a:xfrm>
                        <a:off x="3600" y="3240"/>
                        <a:ext cx="2880" cy="28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" name="Прямоугольник 5"/>
          <p:cNvSpPr/>
          <p:nvPr/>
        </p:nvSpPr>
        <p:spPr>
          <a:xfrm>
            <a:off x="207000" y="489600"/>
            <a:ext cx="11160000" cy="773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4490" b="1" strike="noStrike" spc="-1">
                <a:solidFill>
                  <a:srgbClr val="0A2896"/>
                </a:solidFill>
                <a:latin typeface="VTB Group Bold"/>
                <a:ea typeface="Helvetica Neue Medium"/>
              </a:rPr>
              <a:t>ВТБ</a:t>
            </a:r>
            <a:r>
              <a:rPr lang="ru-RU" sz="4490" b="1" strike="noStrike" spc="-1">
                <a:solidFill>
                  <a:srgbClr val="0A2896"/>
                </a:solidFill>
                <a:latin typeface="VTB Group Bold"/>
                <a:ea typeface="Helvetica Neue"/>
              </a:rPr>
              <a:t>: миссия, видение и ценности</a:t>
            </a:r>
            <a:endParaRPr lang="ru-RU" sz="4490" b="0" strike="noStrike" spc="-1">
              <a:latin typeface="XO Oriel"/>
            </a:endParaRPr>
          </a:p>
        </p:txBody>
      </p:sp>
      <p:sp>
        <p:nvSpPr>
          <p:cNvPr id="234" name="Рисунок 36"/>
          <p:cNvSpPr/>
          <p:nvPr/>
        </p:nvSpPr>
        <p:spPr>
          <a:xfrm>
            <a:off x="8136720" y="1775520"/>
            <a:ext cx="4356720" cy="4808160"/>
          </a:xfrm>
          <a:prstGeom prst="roundRect">
            <a:avLst>
              <a:gd name="adj" fmla="val 4998"/>
            </a:avLst>
          </a:prstGeom>
          <a:blipFill rotWithShape="0">
            <a:blip r:embed="rId6"/>
            <a:srcRect/>
            <a:stretch/>
          </a:blip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235" name="Рисунок 7"/>
          <p:cNvPicPr/>
          <p:nvPr/>
        </p:nvPicPr>
        <p:blipFill>
          <a:blip r:embed="rId7"/>
          <a:srcRect l="72804" t="14902" r="6084"/>
          <a:stretch/>
        </p:blipFill>
        <p:spPr>
          <a:xfrm>
            <a:off x="7949160" y="8371080"/>
            <a:ext cx="4031280" cy="3802680"/>
          </a:xfrm>
          <a:prstGeom prst="rect">
            <a:avLst/>
          </a:prstGeom>
          <a:ln w="0">
            <a:noFill/>
          </a:ln>
        </p:spPr>
      </p:pic>
      <p:sp>
        <p:nvSpPr>
          <p:cNvPr id="236" name="Мы помогаем людям воплощать их планы, создавая лучшие финансовые решения.…"/>
          <p:cNvSpPr/>
          <p:nvPr/>
        </p:nvSpPr>
        <p:spPr>
          <a:xfrm>
            <a:off x="1517040" y="8300880"/>
            <a:ext cx="7711200" cy="1107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0D2388"/>
                </a:solidFill>
                <a:latin typeface="VTB Group Cond Book"/>
                <a:ea typeface="VTB Group Cond Book"/>
              </a:rPr>
              <a:t>Видение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237" name="Мы помогаем людям воплощать их планы, создавая лучшие финансовые решения.…"/>
          <p:cNvSpPr/>
          <p:nvPr/>
        </p:nvSpPr>
        <p:spPr>
          <a:xfrm>
            <a:off x="1517040" y="9618480"/>
            <a:ext cx="6171840" cy="2916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Динамично и устойчиво растущая универсальная финансовая группа, которая призвана быть для своих клиентов финансовым партнером первого выбора, обеспечивая их потребности наиболее удобными и современными способами.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38" name="Скругленный прямоугольник 8"/>
          <p:cNvSpPr/>
          <p:nvPr/>
        </p:nvSpPr>
        <p:spPr>
          <a:xfrm>
            <a:off x="637200" y="7868520"/>
            <a:ext cx="11810880" cy="4808160"/>
          </a:xfrm>
          <a:prstGeom prst="roundRect">
            <a:avLst>
              <a:gd name="adj" fmla="val 6727"/>
            </a:avLst>
          </a:prstGeom>
          <a:noFill/>
          <a:ln w="47625">
            <a:solidFill>
              <a:srgbClr val="6FAAEC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39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/>
          <p:nvPr/>
        </p:nvSpPr>
        <p:spPr>
          <a:xfrm>
            <a:off x="15576840" y="3828960"/>
            <a:ext cx="6936480" cy="13075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Мы ставим потребности клиента</a:t>
            </a:r>
            <a:r>
              <a:rPr lang="en-US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 </a:t>
            </a: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во главу угла. Мы доверяем клиенту и стремимся заслужить его доверие. Мы слушаем и слышим клиента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40" name="Прямоугольник 43"/>
          <p:cNvSpPr/>
          <p:nvPr/>
        </p:nvSpPr>
        <p:spPr>
          <a:xfrm>
            <a:off x="15576840" y="3327840"/>
            <a:ext cx="6936480" cy="57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800" b="1" strike="noStrike" spc="-1">
                <a:solidFill>
                  <a:srgbClr val="0A2896"/>
                </a:solidFill>
                <a:latin typeface="VTB Group Bold"/>
                <a:ea typeface="VTB Group Cond Light"/>
              </a:rPr>
              <a:t>Дорожим клиентом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41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/>
          <p:nvPr/>
        </p:nvSpPr>
        <p:spPr>
          <a:xfrm>
            <a:off x="15578280" y="5709960"/>
            <a:ext cx="7150680" cy="13075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Мы уважаем и доверяем друг другу. Мы поддерживаем друг друга и помогаем коллегам расти. Мы добиваемся общих целей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42" name="Прямоугольник 50"/>
          <p:cNvSpPr/>
          <p:nvPr/>
        </p:nvSpPr>
        <p:spPr>
          <a:xfrm>
            <a:off x="15578280" y="5266080"/>
            <a:ext cx="6935040" cy="57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800" b="1" strike="noStrike" spc="-1">
                <a:solidFill>
                  <a:srgbClr val="0A2896"/>
                </a:solidFill>
                <a:latin typeface="VTB Group Bold"/>
                <a:ea typeface="VTB Group Cond Light"/>
              </a:rPr>
              <a:t>Работаем в команде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43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/>
          <p:nvPr/>
        </p:nvSpPr>
        <p:spPr>
          <a:xfrm>
            <a:off x="15578280" y="7735320"/>
            <a:ext cx="7683120" cy="13075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Мы нацелены на результат, а не на процесс. Каждый из нас отвечает за свой вклад в достижение общих целей. Мы открыто говорим об успехах и неудачах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44" name="Прямоугольник 56"/>
          <p:cNvSpPr/>
          <p:nvPr/>
        </p:nvSpPr>
        <p:spPr>
          <a:xfrm>
            <a:off x="15556680" y="7204320"/>
            <a:ext cx="6208200" cy="57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800" b="1" strike="noStrike" spc="-1">
                <a:solidFill>
                  <a:srgbClr val="0A2896"/>
                </a:solidFill>
                <a:latin typeface="VTB Group Bold"/>
                <a:ea typeface="VTB Group Cond Light"/>
              </a:rPr>
              <a:t>Отвечаем за результат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45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/>
          <p:nvPr/>
        </p:nvSpPr>
        <p:spPr>
          <a:xfrm>
            <a:off x="15578280" y="9753480"/>
            <a:ext cx="7516800" cy="13075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Мы относимся к делу неравнодушно. Мы занимаем проактивную позицию при решении общих задач. Мы делаем больше, чем формально обязаны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46" name="Прямоугольник 58"/>
          <p:cNvSpPr/>
          <p:nvPr/>
        </p:nvSpPr>
        <p:spPr>
          <a:xfrm>
            <a:off x="15552000" y="9234360"/>
            <a:ext cx="6213240" cy="57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800" b="1" strike="noStrike" spc="-1">
                <a:solidFill>
                  <a:srgbClr val="0A2896"/>
                </a:solidFill>
                <a:latin typeface="VTB Group Bold"/>
                <a:ea typeface="VTB Group Cond Light"/>
              </a:rPr>
              <a:t>Проявляем инициативу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47" name="Наблюдательный совет банка ВТБ утвердил программу структурных облигаций. Срок ее действия неограничен, максимальный объем всех выпусков составит 1 трлн руб. при возможном сроке обращения до 100 лет. Программа рублевых структурных облигаций разработана в соответствии с изменениями в законе «О рынке ценных бумаг», вступившими в силу в конце 2018 года."/>
          <p:cNvSpPr/>
          <p:nvPr/>
        </p:nvSpPr>
        <p:spPr>
          <a:xfrm>
            <a:off x="15578280" y="11743920"/>
            <a:ext cx="7516800" cy="9054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Мы открыты к изменениям. Мы начинаем изменения с себя. Мы не боимся экспериментировать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248" name="Прямоугольник 62"/>
          <p:cNvSpPr/>
          <p:nvPr/>
        </p:nvSpPr>
        <p:spPr>
          <a:xfrm>
            <a:off x="15539760" y="11225520"/>
            <a:ext cx="7555320" cy="57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800" b="1" strike="noStrike" spc="-1">
                <a:solidFill>
                  <a:srgbClr val="0A2896"/>
                </a:solidFill>
                <a:latin typeface="VTB Group Bold"/>
                <a:ea typeface="VTB Group Cond Light"/>
              </a:rPr>
              <a:t>Совершенствуемся постоянно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49" name="Мы помогаем людям воплощать их планы, создавая лучшие финансовые решения.…"/>
          <p:cNvSpPr/>
          <p:nvPr/>
        </p:nvSpPr>
        <p:spPr>
          <a:xfrm>
            <a:off x="15556680" y="1556280"/>
            <a:ext cx="5900760" cy="1107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0D2388"/>
                </a:solidFill>
                <a:latin typeface="VTB Group Cond Book"/>
                <a:ea typeface="VTB Group Cond Book"/>
              </a:rPr>
              <a:t>Наши ценности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250" name="Мы помогаем людям воплощать их планы, создавая лучшие финансовые решения.…"/>
          <p:cNvSpPr/>
          <p:nvPr/>
        </p:nvSpPr>
        <p:spPr>
          <a:xfrm>
            <a:off x="1517040" y="2197440"/>
            <a:ext cx="7711200" cy="1107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Cond Book"/>
                <a:ea typeface="VTB Group Cond Book"/>
              </a:rPr>
              <a:t>Миссия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251" name="Мы помогаем людям воплощать их планы, создавая лучшие финансовые решения.…"/>
          <p:cNvSpPr/>
          <p:nvPr/>
        </p:nvSpPr>
        <p:spPr>
          <a:xfrm>
            <a:off x="1517040" y="3515040"/>
            <a:ext cx="6171840" cy="21117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FFFFFF"/>
                </a:solidFill>
                <a:latin typeface="VTB Group Light"/>
                <a:ea typeface="VTB Group Cond Book"/>
              </a:rPr>
              <a:t>Мы помогаем людям воплощать их планы, создавая лучшие финансовые решения.</a:t>
            </a:r>
            <a:endParaRPr lang="ru-RU" sz="2400" b="0" strike="noStrike" spc="-1">
              <a:latin typeface="XO Oriel"/>
            </a:endParaRPr>
          </a:p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2400" b="0" strike="noStrike" spc="-1">
                <a:solidFill>
                  <a:srgbClr val="FFFFFF"/>
                </a:solidFill>
                <a:latin typeface="VTB Group Light"/>
                <a:ea typeface="VTB Group Cond Book"/>
              </a:rPr>
              <a:t>Мы – команда профессионалов, работающих для наших клиентов и всей страны.</a:t>
            </a:r>
            <a:endParaRPr lang="ru-RU" sz="2400" b="0" strike="noStrike" spc="-1">
              <a:latin typeface="XO Oriel"/>
            </a:endParaRPr>
          </a:p>
        </p:txBody>
      </p:sp>
      <p:pic>
        <p:nvPicPr>
          <p:cNvPr id="252" name="Рисунок 10"/>
          <p:cNvPicPr/>
          <p:nvPr/>
        </p:nvPicPr>
        <p:blipFill>
          <a:blip r:embed="rId8"/>
          <a:stretch/>
        </p:blipFill>
        <p:spPr>
          <a:xfrm>
            <a:off x="13652640" y="3544920"/>
            <a:ext cx="1925280" cy="1751400"/>
          </a:xfrm>
          <a:prstGeom prst="rect">
            <a:avLst/>
          </a:prstGeom>
          <a:ln w="0">
            <a:noFill/>
          </a:ln>
        </p:spPr>
      </p:pic>
      <p:pic>
        <p:nvPicPr>
          <p:cNvPr id="253" name="Рисунок 11"/>
          <p:cNvPicPr/>
          <p:nvPr/>
        </p:nvPicPr>
        <p:blipFill>
          <a:blip r:embed="rId9"/>
          <a:stretch/>
        </p:blipFill>
        <p:spPr>
          <a:xfrm>
            <a:off x="13801680" y="5266080"/>
            <a:ext cx="1521000" cy="1591560"/>
          </a:xfrm>
          <a:prstGeom prst="rect">
            <a:avLst/>
          </a:prstGeom>
          <a:ln w="0">
            <a:noFill/>
          </a:ln>
        </p:spPr>
      </p:pic>
      <p:pic>
        <p:nvPicPr>
          <p:cNvPr id="254" name="Рисунок 12"/>
          <p:cNvPicPr/>
          <p:nvPr/>
        </p:nvPicPr>
        <p:blipFill>
          <a:blip r:embed="rId10"/>
          <a:stretch/>
        </p:blipFill>
        <p:spPr>
          <a:xfrm>
            <a:off x="13801680" y="11099880"/>
            <a:ext cx="1811520" cy="1783080"/>
          </a:xfrm>
          <a:prstGeom prst="rect">
            <a:avLst/>
          </a:prstGeom>
          <a:ln w="0">
            <a:noFill/>
          </a:ln>
        </p:spPr>
      </p:pic>
      <p:pic>
        <p:nvPicPr>
          <p:cNvPr id="255" name="Рисунок 13"/>
          <p:cNvPicPr/>
          <p:nvPr/>
        </p:nvPicPr>
        <p:blipFill>
          <a:blip r:embed="rId11"/>
          <a:stretch/>
        </p:blipFill>
        <p:spPr>
          <a:xfrm>
            <a:off x="13941360" y="9409680"/>
            <a:ext cx="1172520" cy="1620360"/>
          </a:xfrm>
          <a:prstGeom prst="rect">
            <a:avLst/>
          </a:prstGeom>
          <a:ln w="0">
            <a:noFill/>
          </a:ln>
        </p:spPr>
      </p:pic>
      <p:pic>
        <p:nvPicPr>
          <p:cNvPr id="256" name="Рисунок 14"/>
          <p:cNvPicPr/>
          <p:nvPr/>
        </p:nvPicPr>
        <p:blipFill>
          <a:blip r:embed="rId12"/>
          <a:stretch/>
        </p:blipFill>
        <p:spPr>
          <a:xfrm>
            <a:off x="13795200" y="7367040"/>
            <a:ext cx="1640160" cy="1533240"/>
          </a:xfrm>
          <a:prstGeom prst="rect">
            <a:avLst/>
          </a:prstGeom>
          <a:ln w="0">
            <a:noFill/>
          </a:ln>
        </p:spPr>
      </p:pic>
      <p:pic>
        <p:nvPicPr>
          <p:cNvPr id="257" name="Рисунок 256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8" name="Рисунок 8"/>
          <p:cNvPicPr/>
          <p:nvPr/>
        </p:nvPicPr>
        <p:blipFill>
          <a:blip r:embed="rId4"/>
          <a:stretch/>
        </p:blipFill>
        <p:spPr>
          <a:xfrm>
            <a:off x="547200" y="6709320"/>
            <a:ext cx="5708520" cy="60944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59" name="Объект 4"/>
          <p:cNvGraphicFramePr/>
          <p:nvPr/>
        </p:nvGraphicFramePr>
        <p:xfrm>
          <a:off x="3600" y="3240"/>
          <a:ext cx="2880" cy="28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60" name="Объект 4"/>
                      <p:cNvPicPr/>
                      <p:nvPr/>
                    </p:nvPicPr>
                    <p:blipFill>
                      <a:blip r:embed="rId6"/>
                      <a:stretch/>
                    </p:blipFill>
                    <p:spPr>
                      <a:xfrm>
                        <a:off x="3600" y="3240"/>
                        <a:ext cx="2880" cy="28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1" name="Прямоугольник 3" hidden="1"/>
          <p:cNvSpPr/>
          <p:nvPr/>
        </p:nvSpPr>
        <p:spPr>
          <a:xfrm>
            <a:off x="360" y="0"/>
            <a:ext cx="323640" cy="323640"/>
          </a:xfrm>
          <a:prstGeom prst="rect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1247760" y="831600"/>
            <a:ext cx="7150680" cy="2290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numCol="1" spcCol="0"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731880" algn="l"/>
              </a:tabLst>
            </a:pPr>
            <a:r>
              <a:rPr lang="ru-RU" sz="4490" b="1" strike="noStrike" spc="-1">
                <a:solidFill>
                  <a:srgbClr val="0A2896"/>
                </a:solidFill>
                <a:latin typeface="VTB Group Bold"/>
              </a:rPr>
              <a:t>Ключевые факты о ВТБ</a:t>
            </a:r>
            <a:endParaRPr lang="ru-RU" sz="4490" b="0" strike="noStrike" spc="-1">
              <a:solidFill>
                <a:srgbClr val="000000"/>
              </a:solidFill>
              <a:latin typeface="Helvetica Neue"/>
            </a:endParaRPr>
          </a:p>
        </p:txBody>
      </p:sp>
      <p:sp>
        <p:nvSpPr>
          <p:cNvPr id="263" name="TextBox 1335"/>
          <p:cNvSpPr/>
          <p:nvPr/>
        </p:nvSpPr>
        <p:spPr>
          <a:xfrm>
            <a:off x="1099080" y="2812680"/>
            <a:ext cx="11562840" cy="3551400"/>
          </a:xfrm>
          <a:prstGeom prst="rect">
            <a:avLst/>
          </a:prstGeom>
          <a:solidFill>
            <a:schemeClr val="bg1">
              <a:alpha val="86000"/>
            </a:schemeClr>
          </a:solidFill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numCol="1" spcCol="0" anchor="t">
            <a:spAutoFit/>
          </a:bodyPr>
          <a:lstStyle/>
          <a:p>
            <a:pPr marL="349920" indent="-349920">
              <a:lnSpc>
                <a:spcPct val="95000"/>
              </a:lnSpc>
              <a:spcBef>
                <a:spcPts val="1225"/>
              </a:spcBef>
              <a:buClr>
                <a:srgbClr val="00AAFF"/>
              </a:buClr>
              <a:buFont typeface="Arial"/>
              <a:buChar char="•"/>
            </a:pPr>
            <a:r>
              <a:rPr lang="ru-RU" sz="2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Корпоративно-инвестиционный бизнес </a:t>
            </a:r>
            <a:r>
              <a:rPr lang="ru-RU" sz="2800" b="1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– </a:t>
            </a: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обслуживание всех крупнейших корпоративных клиентов из ключевых секторов российской экономики</a:t>
            </a:r>
            <a:endParaRPr lang="ru-RU" sz="2800" b="0" strike="noStrike" spc="-1">
              <a:latin typeface="XO Oriel"/>
            </a:endParaRPr>
          </a:p>
          <a:p>
            <a:pPr marL="349920" indent="-349920">
              <a:lnSpc>
                <a:spcPct val="95000"/>
              </a:lnSpc>
              <a:spcBef>
                <a:spcPts val="1225"/>
              </a:spcBef>
              <a:buClr>
                <a:srgbClr val="00AAFF"/>
              </a:buClr>
              <a:buFont typeface="Arial"/>
              <a:buChar char="•"/>
            </a:pPr>
            <a:r>
              <a:rPr lang="ru-RU" sz="2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Средний и малый бизнес </a:t>
            </a: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– один из ведущих российских банков, обслуживающих более 1 млн клиентов – предпринимателей и компаний</a:t>
            </a:r>
            <a:endParaRPr lang="ru-RU" sz="2800" b="0" strike="noStrike" spc="-1">
              <a:latin typeface="XO Oriel"/>
            </a:endParaRPr>
          </a:p>
          <a:p>
            <a:pPr marL="349920" indent="-349920">
              <a:lnSpc>
                <a:spcPct val="95000"/>
              </a:lnSpc>
              <a:spcBef>
                <a:spcPts val="1225"/>
              </a:spcBef>
              <a:buClr>
                <a:srgbClr val="00AAFF"/>
              </a:buClr>
              <a:buFont typeface="Arial"/>
              <a:buChar char="•"/>
            </a:pPr>
            <a:r>
              <a:rPr lang="ru-RU" sz="2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Розничный бизнес </a:t>
            </a: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– второй по величине розничный банк в России, созданный с нуля в 2005 году</a:t>
            </a:r>
            <a:r>
              <a:rPr lang="ru-RU" sz="2800" b="0" strike="noStrike" spc="-1">
                <a:solidFill>
                  <a:srgbClr val="000000"/>
                </a:solidFill>
                <a:latin typeface="Arial"/>
                <a:ea typeface="Helvetica Neue"/>
              </a:rPr>
              <a:t> 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64" name="Прямоугольник 59"/>
          <p:cNvSpPr/>
          <p:nvPr/>
        </p:nvSpPr>
        <p:spPr>
          <a:xfrm>
            <a:off x="8035560" y="8270280"/>
            <a:ext cx="5468760" cy="1926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1225"/>
              </a:spcBef>
              <a:buNone/>
              <a:tabLst>
                <a:tab pos="0" algn="l"/>
              </a:tabLst>
            </a:pPr>
            <a:r>
              <a:rPr lang="ru-RU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1</a:t>
            </a:r>
            <a:r>
              <a:rPr lang="en-US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 </a:t>
            </a:r>
            <a:r>
              <a:rPr lang="ru-RU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млн</a:t>
            </a:r>
            <a:r>
              <a:rPr sz="4800"/>
              <a:t/>
            </a:r>
            <a:br>
              <a:rPr sz="4800"/>
            </a:b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клиентов ЮЛ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65" name="Прямоугольник 59"/>
          <p:cNvSpPr/>
          <p:nvPr/>
        </p:nvSpPr>
        <p:spPr>
          <a:xfrm>
            <a:off x="4832280" y="9919440"/>
            <a:ext cx="5421600" cy="1772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1225"/>
              </a:spcBef>
              <a:buNone/>
              <a:tabLst>
                <a:tab pos="0" algn="l"/>
              </a:tabLst>
            </a:pPr>
            <a:r>
              <a:rPr lang="ru-RU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1,3 тыс.</a:t>
            </a:r>
            <a:r>
              <a:rPr sz="4800"/>
              <a:t/>
            </a:r>
            <a:br>
              <a:rPr sz="4800"/>
            </a:b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отделений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66" name="Прямоугольник 59"/>
          <p:cNvSpPr/>
          <p:nvPr/>
        </p:nvSpPr>
        <p:spPr>
          <a:xfrm>
            <a:off x="5099760" y="8236440"/>
            <a:ext cx="4518360" cy="1926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1225"/>
              </a:spcBef>
              <a:buNone/>
              <a:tabLst>
                <a:tab pos="0" algn="l"/>
              </a:tabLst>
            </a:pPr>
            <a:r>
              <a:rPr lang="ru-RU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17 млн</a:t>
            </a:r>
            <a:r>
              <a:rPr sz="4000"/>
              <a:t/>
            </a:r>
            <a:br>
              <a:rPr sz="4000"/>
            </a:b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клиентов ФЛ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67" name="Прямоугольник 59"/>
          <p:cNvSpPr/>
          <p:nvPr/>
        </p:nvSpPr>
        <p:spPr>
          <a:xfrm>
            <a:off x="8398800" y="9881280"/>
            <a:ext cx="5302440" cy="1772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ctr">
              <a:lnSpc>
                <a:spcPct val="100000"/>
              </a:lnSpc>
              <a:spcBef>
                <a:spcPts val="1225"/>
              </a:spcBef>
              <a:buNone/>
              <a:tabLst>
                <a:tab pos="0" algn="l"/>
              </a:tabLst>
            </a:pPr>
            <a:r>
              <a:rPr lang="ru-RU" sz="4800" b="1" strike="noStrike" spc="-1">
                <a:solidFill>
                  <a:srgbClr val="00AAFF"/>
                </a:solidFill>
                <a:latin typeface="VTB Group Book"/>
                <a:ea typeface="Helvetica Neue"/>
              </a:rPr>
              <a:t>50 тыс.</a:t>
            </a:r>
            <a:r>
              <a:rPr sz="4800"/>
              <a:t/>
            </a:r>
            <a:br>
              <a:rPr sz="4800"/>
            </a:br>
            <a:r>
              <a:rPr lang="ru-RU" sz="2800" b="0" strike="noStrike" spc="-1">
                <a:solidFill>
                  <a:srgbClr val="000000"/>
                </a:solidFill>
                <a:latin typeface="VTB Group Book"/>
                <a:ea typeface="Helvetica Neue"/>
              </a:rPr>
              <a:t>сотрудников</a:t>
            </a:r>
            <a:endParaRPr lang="ru-RU" sz="2800" b="0" strike="noStrike" spc="-1">
              <a:latin typeface="XO Oriel"/>
            </a:endParaRPr>
          </a:p>
        </p:txBody>
      </p:sp>
      <p:grpSp>
        <p:nvGrpSpPr>
          <p:cNvPr id="268" name="Группа 13"/>
          <p:cNvGrpSpPr/>
          <p:nvPr/>
        </p:nvGrpSpPr>
        <p:grpSpPr>
          <a:xfrm>
            <a:off x="15983640" y="2612160"/>
            <a:ext cx="6624360" cy="11315880"/>
            <a:chOff x="15983640" y="2612160"/>
            <a:chExt cx="6624360" cy="11315880"/>
          </a:xfrm>
        </p:grpSpPr>
        <p:pic>
          <p:nvPicPr>
            <p:cNvPr id="269" name="Рисунок 10"/>
            <p:cNvPicPr/>
            <p:nvPr/>
          </p:nvPicPr>
          <p:blipFill>
            <a:blip r:embed="rId7"/>
            <a:srcRect b="53727"/>
            <a:stretch/>
          </p:blipFill>
          <p:spPr>
            <a:xfrm>
              <a:off x="16044840" y="2612160"/>
              <a:ext cx="6501960" cy="294624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270" name="Рисунок 342"/>
            <p:cNvPicPr/>
            <p:nvPr/>
          </p:nvPicPr>
          <p:blipFill>
            <a:blip r:embed="rId7"/>
            <a:srcRect t="53905"/>
            <a:stretch/>
          </p:blipFill>
          <p:spPr>
            <a:xfrm>
              <a:off x="16044840" y="8257320"/>
              <a:ext cx="6501960" cy="293472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271" name="Рисунок 11"/>
            <p:cNvPicPr/>
            <p:nvPr/>
          </p:nvPicPr>
          <p:blipFill>
            <a:blip r:embed="rId8"/>
            <a:srcRect b="51858"/>
            <a:stretch/>
          </p:blipFill>
          <p:spPr>
            <a:xfrm>
              <a:off x="15983640" y="5170680"/>
              <a:ext cx="6624360" cy="314568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272" name="Рисунок 344"/>
            <p:cNvPicPr/>
            <p:nvPr/>
          </p:nvPicPr>
          <p:blipFill>
            <a:blip r:embed="rId8"/>
            <a:srcRect t="51194"/>
            <a:stretch/>
          </p:blipFill>
          <p:spPr>
            <a:xfrm>
              <a:off x="15983640" y="10739160"/>
              <a:ext cx="6624360" cy="318888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273" name="Прямая соединительная линия 18"/>
          <p:cNvSpPr/>
          <p:nvPr/>
        </p:nvSpPr>
        <p:spPr>
          <a:xfrm>
            <a:off x="15087600" y="5168520"/>
            <a:ext cx="9296280" cy="360"/>
          </a:xfrm>
          <a:prstGeom prst="line">
            <a:avLst/>
          </a:prstGeom>
          <a:ln w="53975">
            <a:solidFill>
              <a:srgbClr val="00AAFF">
                <a:alpha val="68000"/>
              </a:srgbClr>
            </a:solidFill>
            <a:prstDash val="sysDot"/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74" name="Прямая соединительная линия 348"/>
          <p:cNvSpPr/>
          <p:nvPr/>
        </p:nvSpPr>
        <p:spPr>
          <a:xfrm>
            <a:off x="15087600" y="8003520"/>
            <a:ext cx="9296280" cy="360"/>
          </a:xfrm>
          <a:prstGeom prst="line">
            <a:avLst/>
          </a:prstGeom>
          <a:ln w="53975">
            <a:solidFill>
              <a:srgbClr val="00AAFF">
                <a:alpha val="68000"/>
              </a:srgbClr>
            </a:solidFill>
            <a:prstDash val="sysDot"/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75" name="Прямая соединительная линия 349"/>
          <p:cNvSpPr/>
          <p:nvPr/>
        </p:nvSpPr>
        <p:spPr>
          <a:xfrm>
            <a:off x="15087600" y="10746720"/>
            <a:ext cx="9296280" cy="360"/>
          </a:xfrm>
          <a:prstGeom prst="line">
            <a:avLst/>
          </a:prstGeom>
          <a:ln w="53975">
            <a:solidFill>
              <a:srgbClr val="00AAFF">
                <a:alpha val="68000"/>
              </a:srgbClr>
            </a:solidFill>
            <a:prstDash val="sysDot"/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76" name="Рисунок 275"/>
          <p:cNvPicPr/>
          <p:nvPr/>
        </p:nvPicPr>
        <p:blipFill>
          <a:blip r:embed="rId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E1DFF"/>
            </a:gs>
            <a:gs pos="100000">
              <a:srgbClr val="092082"/>
            </a:gs>
          </a:gsLst>
          <a:lin ang="135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PlaceHolder 1"/>
          <p:cNvSpPr>
            <a:spLocks noGrp="1"/>
          </p:cNvSpPr>
          <p:nvPr>
            <p:ph type="title"/>
          </p:nvPr>
        </p:nvSpPr>
        <p:spPr>
          <a:xfrm>
            <a:off x="1628280" y="2229120"/>
            <a:ext cx="19965240" cy="24732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Стажировка ВТБ Юниор в сети </a:t>
            </a:r>
            <a:r>
              <a:rPr sz="6000"/>
              <a:t/>
            </a:r>
            <a:br>
              <a:rPr sz="6000"/>
            </a:b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Направления стажировки</a:t>
            </a:r>
            <a:endParaRPr lang="ru-RU" sz="6000" b="0" strike="noStrike" spc="-1">
              <a:solidFill>
                <a:srgbClr val="000000"/>
              </a:solidFill>
              <a:latin typeface="Helvetica Neue"/>
            </a:endParaRPr>
          </a:p>
        </p:txBody>
      </p:sp>
      <p:grpSp>
        <p:nvGrpSpPr>
          <p:cNvPr id="278" name="Группа 2"/>
          <p:cNvGrpSpPr/>
          <p:nvPr/>
        </p:nvGrpSpPr>
        <p:grpSpPr>
          <a:xfrm>
            <a:off x="1628280" y="6572160"/>
            <a:ext cx="16255080" cy="5261760"/>
            <a:chOff x="1628280" y="6572160"/>
            <a:chExt cx="16255080" cy="5261760"/>
          </a:xfrm>
        </p:grpSpPr>
        <p:sp>
          <p:nvSpPr>
            <p:cNvPr id="279" name="TextBox 25"/>
            <p:cNvSpPr/>
            <p:nvPr/>
          </p:nvSpPr>
          <p:spPr>
            <a:xfrm>
              <a:off x="2372040" y="7912080"/>
              <a:ext cx="5989680" cy="97524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b">
              <a:spAutoFit/>
            </a:bodyPr>
            <a:lstStyle/>
            <a:p>
              <a:pPr>
                <a:lnSpc>
                  <a:spcPct val="80000"/>
                </a:lnSpc>
                <a:spcBef>
                  <a:spcPts val="4000"/>
                </a:spcBef>
                <a:buNone/>
                <a:tabLst>
                  <a:tab pos="0" algn="l"/>
                </a:tabLst>
              </a:pPr>
              <a:r>
                <a:rPr lang="ru-RU" sz="4000" b="0" strike="noStrike" spc="-41">
                  <a:solidFill>
                    <a:srgbClr val="053674"/>
                  </a:solidFill>
                  <a:latin typeface="VTB Group Cond Book"/>
                  <a:ea typeface="VTB Group Cond Book"/>
                </a:rPr>
                <a:t>У вас нет опыта </a:t>
              </a:r>
              <a:r>
                <a:rPr sz="4000"/>
                <a:t/>
              </a:r>
              <a:br>
                <a:rPr sz="4000"/>
              </a:br>
              <a:r>
                <a:rPr lang="ru-RU" sz="4000" b="0" strike="noStrike" spc="-41">
                  <a:solidFill>
                    <a:srgbClr val="053674"/>
                  </a:solidFill>
                  <a:latin typeface="VTB Group Cond Book"/>
                  <a:ea typeface="VTB Group Cond Book"/>
                </a:rPr>
                <a:t>работы? </a:t>
              </a:r>
              <a:endParaRPr lang="ru-RU" sz="4000" b="0" strike="noStrike" spc="-1">
                <a:latin typeface="XO Oriel"/>
              </a:endParaRPr>
            </a:p>
          </p:txBody>
        </p:sp>
        <p:sp>
          <p:nvSpPr>
            <p:cNvPr id="280" name="Сквиркл"/>
            <p:cNvSpPr/>
            <p:nvPr/>
          </p:nvSpPr>
          <p:spPr>
            <a:xfrm>
              <a:off x="1628280" y="6572160"/>
              <a:ext cx="7597440" cy="5208120"/>
            </a:xfrm>
            <a:prstGeom prst="roundRect">
              <a:avLst>
                <a:gd name="adj" fmla="val 2721"/>
              </a:avLst>
            </a:prstGeom>
            <a:solidFill>
              <a:srgbClr val="FFFFFF"/>
            </a:solidFill>
            <a:ln w="12700">
              <a:noFill/>
            </a:ln>
            <a:effectLst>
              <a:outerShdw blurRad="698400" dist="316080" dir="5400000" rotWithShape="0">
                <a:srgbClr val="000000">
                  <a:alpha val="7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81" name="Линия"/>
            <p:cNvSpPr/>
            <p:nvPr/>
          </p:nvSpPr>
          <p:spPr>
            <a:xfrm>
              <a:off x="2368080" y="8887320"/>
              <a:ext cx="5997240" cy="0"/>
            </a:xfrm>
            <a:prstGeom prst="line">
              <a:avLst/>
            </a:prstGeom>
            <a:ln w="25400">
              <a:solidFill>
                <a:srgbClr val="053674">
                  <a:alpha val="10000"/>
                </a:srgbClr>
              </a:solidFill>
              <a:miter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82" name="Сквиркл"/>
            <p:cNvSpPr/>
            <p:nvPr/>
          </p:nvSpPr>
          <p:spPr>
            <a:xfrm>
              <a:off x="10285560" y="6572160"/>
              <a:ext cx="7597440" cy="5208120"/>
            </a:xfrm>
            <a:prstGeom prst="roundRect">
              <a:avLst>
                <a:gd name="adj" fmla="val 2721"/>
              </a:avLst>
            </a:prstGeom>
            <a:solidFill>
              <a:srgbClr val="FFFFFF"/>
            </a:solidFill>
            <a:ln w="12700">
              <a:noFill/>
            </a:ln>
            <a:effectLst>
              <a:outerShdw blurRad="698400" dist="316080" dir="5400000" rotWithShape="0">
                <a:srgbClr val="000000">
                  <a:alpha val="7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83" name="Линия"/>
            <p:cNvSpPr/>
            <p:nvPr/>
          </p:nvSpPr>
          <p:spPr>
            <a:xfrm>
              <a:off x="11153880" y="8822160"/>
              <a:ext cx="5997240" cy="0"/>
            </a:xfrm>
            <a:prstGeom prst="line">
              <a:avLst/>
            </a:prstGeom>
            <a:ln w="25400">
              <a:solidFill>
                <a:srgbClr val="053674">
                  <a:alpha val="10000"/>
                </a:srgbClr>
              </a:solidFill>
              <a:miter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sp>
          <p:nvSpPr>
            <p:cNvPr id="284" name="ВТБ IT ЮНИОР"/>
            <p:cNvSpPr/>
            <p:nvPr/>
          </p:nvSpPr>
          <p:spPr>
            <a:xfrm>
              <a:off x="11025720" y="9000360"/>
              <a:ext cx="5989680" cy="190116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t">
              <a:spAutoFit/>
            </a:bodyPr>
            <a:lstStyle/>
            <a:p>
              <a:pPr marL="343080" indent="-343080">
                <a:lnSpc>
                  <a:spcPct val="130000"/>
                </a:lnSpc>
                <a:buClr>
                  <a:srgbClr val="343434"/>
                </a:buClr>
                <a:buFont typeface="Arial"/>
                <a:buChar char="•"/>
              </a:pPr>
              <a:r>
                <a:rPr lang="ru-RU" sz="3200" b="0" strike="noStrike" spc="-32">
                  <a:solidFill>
                    <a:srgbClr val="343434"/>
                  </a:solidFill>
                  <a:latin typeface="VTB Group Cond Book"/>
                  <a:ea typeface="VTB Group Cond Book"/>
                </a:rPr>
                <a:t>Работа с корпоративными клиентами</a:t>
              </a:r>
              <a:endParaRPr lang="ru-RU" sz="3200" b="0" strike="noStrike" spc="-1">
                <a:latin typeface="XO Oriel"/>
              </a:endParaRPr>
            </a:p>
            <a:p>
              <a:pPr marL="343080" indent="-343080">
                <a:lnSpc>
                  <a:spcPct val="130000"/>
                </a:lnSpc>
                <a:buClr>
                  <a:srgbClr val="343434"/>
                </a:buClr>
                <a:buFont typeface="Arial"/>
                <a:buChar char="•"/>
              </a:pPr>
              <a:r>
                <a:rPr lang="ru-RU" sz="3200" b="0" strike="noStrike" spc="-32">
                  <a:solidFill>
                    <a:srgbClr val="343434"/>
                  </a:solidFill>
                  <a:latin typeface="VTB Group Cond Book"/>
                  <a:ea typeface="VTB Group Cond Book"/>
                </a:rPr>
                <a:t>Кредитный анализ</a:t>
              </a:r>
              <a:endParaRPr lang="ru-RU" sz="3200" b="0" strike="noStrike" spc="-1">
                <a:latin typeface="XO Oriel"/>
              </a:endParaRPr>
            </a:p>
          </p:txBody>
        </p:sp>
        <p:sp>
          <p:nvSpPr>
            <p:cNvPr id="285" name="TextBox 25"/>
            <p:cNvSpPr/>
            <p:nvPr/>
          </p:nvSpPr>
          <p:spPr>
            <a:xfrm>
              <a:off x="11161440" y="7494840"/>
              <a:ext cx="4760640" cy="121932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b">
              <a:spAutoFit/>
            </a:bodyPr>
            <a:lstStyle/>
            <a:p>
              <a:pPr>
                <a:lnSpc>
                  <a:spcPct val="100000"/>
                </a:lnSpc>
                <a:spcBef>
                  <a:spcPts val="4000"/>
                </a:spcBef>
                <a:buNone/>
                <a:tabLst>
                  <a:tab pos="0" algn="l"/>
                </a:tabLst>
              </a:pPr>
              <a:r>
                <a:rPr lang="ru-RU" sz="4000" b="0" strike="noStrike" spc="-38">
                  <a:solidFill>
                    <a:srgbClr val="00A2FF"/>
                  </a:solidFill>
                  <a:latin typeface="VTB Group Cond Book"/>
                  <a:ea typeface="VTB Group Cond Book"/>
                </a:rPr>
                <a:t>Средний и малый бизнес</a:t>
              </a:r>
              <a:endParaRPr lang="ru-RU" sz="4000" b="0" strike="noStrike" spc="-1">
                <a:latin typeface="XO Oriel"/>
              </a:endParaRPr>
            </a:p>
          </p:txBody>
        </p:sp>
        <p:sp>
          <p:nvSpPr>
            <p:cNvPr id="286" name="TextBox 25"/>
            <p:cNvSpPr/>
            <p:nvPr/>
          </p:nvSpPr>
          <p:spPr>
            <a:xfrm>
              <a:off x="2354760" y="7494840"/>
              <a:ext cx="3435480" cy="121932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b">
              <a:spAutoFit/>
            </a:bodyPr>
            <a:lstStyle/>
            <a:p>
              <a:pPr>
                <a:lnSpc>
                  <a:spcPct val="100000"/>
                </a:lnSpc>
                <a:spcBef>
                  <a:spcPts val="4000"/>
                </a:spcBef>
                <a:buNone/>
                <a:tabLst>
                  <a:tab pos="0" algn="l"/>
                </a:tabLst>
              </a:pPr>
              <a:r>
                <a:rPr lang="ru-RU" sz="4000" b="0" strike="noStrike" spc="-38">
                  <a:solidFill>
                    <a:srgbClr val="00A2FF"/>
                  </a:solidFill>
                  <a:latin typeface="VTB Group Cond Book"/>
                  <a:ea typeface="VTB Group Cond Book"/>
                </a:rPr>
                <a:t>Розничный бизнес</a:t>
              </a:r>
              <a:endParaRPr lang="ru-RU" sz="4000" b="0" strike="noStrike" spc="-1">
                <a:latin typeface="XO Oriel"/>
              </a:endParaRPr>
            </a:p>
          </p:txBody>
        </p:sp>
        <p:sp>
          <p:nvSpPr>
            <p:cNvPr id="287" name="ВТБ IT ЮНИОР"/>
            <p:cNvSpPr/>
            <p:nvPr/>
          </p:nvSpPr>
          <p:spPr>
            <a:xfrm>
              <a:off x="2375640" y="9000360"/>
              <a:ext cx="5989680" cy="1267560"/>
            </a:xfrm>
            <a:prstGeom prst="rect">
              <a:avLst/>
            </a:prstGeom>
            <a:noFill/>
            <a:ln w="127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t">
              <a:spAutoFit/>
            </a:bodyPr>
            <a:lstStyle/>
            <a:p>
              <a:pPr marL="343080" indent="-343080">
                <a:lnSpc>
                  <a:spcPct val="130000"/>
                </a:lnSpc>
                <a:buClr>
                  <a:srgbClr val="343434"/>
                </a:buClr>
                <a:buFont typeface="Arial"/>
                <a:buChar char="•"/>
              </a:pPr>
              <a:r>
                <a:rPr lang="ru-RU" sz="3200" b="0" strike="noStrike" spc="-32">
                  <a:solidFill>
                    <a:srgbClr val="343434"/>
                  </a:solidFill>
                  <a:latin typeface="VTB Group Cond Book"/>
                  <a:ea typeface="VTB Group Cond Book"/>
                </a:rPr>
                <a:t>Работа с клиентами – физическими лицами</a:t>
              </a:r>
              <a:endParaRPr lang="ru-RU" sz="3200" b="0" strike="noStrike" spc="-1">
                <a:latin typeface="XO Oriel"/>
              </a:endParaRPr>
            </a:p>
          </p:txBody>
        </p:sp>
        <p:pic>
          <p:nvPicPr>
            <p:cNvPr id="288" name="Рисунок 15"/>
            <p:cNvPicPr/>
            <p:nvPr/>
          </p:nvPicPr>
          <p:blipFill>
            <a:blip r:embed="rId2"/>
            <a:stretch/>
          </p:blipFill>
          <p:spPr>
            <a:xfrm>
              <a:off x="14486760" y="9352080"/>
              <a:ext cx="3396600" cy="248184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289" name="Рисунок 1"/>
            <p:cNvPicPr/>
            <p:nvPr/>
          </p:nvPicPr>
          <p:blipFill>
            <a:blip r:embed="rId3"/>
            <a:stretch/>
          </p:blipFill>
          <p:spPr>
            <a:xfrm>
              <a:off x="7023960" y="9631440"/>
              <a:ext cx="2081520" cy="212868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290" name="Линия"/>
          <p:cNvSpPr/>
          <p:nvPr/>
        </p:nvSpPr>
        <p:spPr>
          <a:xfrm>
            <a:off x="17058240" y="8639280"/>
            <a:ext cx="5108760" cy="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CF0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Прямоугольник 2"/>
          <p:cNvSpPr/>
          <p:nvPr/>
        </p:nvSpPr>
        <p:spPr>
          <a:xfrm>
            <a:off x="0" y="0"/>
            <a:ext cx="24383520" cy="13715640"/>
          </a:xfrm>
          <a:prstGeom prst="rect">
            <a:avLst/>
          </a:prstGeom>
          <a:gradFill rotWithShape="0">
            <a:gsLst>
              <a:gs pos="0">
                <a:srgbClr val="2533A7"/>
              </a:gs>
              <a:gs pos="100000">
                <a:srgbClr val="092082"/>
              </a:gs>
            </a:gsLst>
            <a:lin ang="13500000"/>
          </a:gradFill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292" name="Рисунок 1"/>
          <p:cNvPicPr/>
          <p:nvPr/>
        </p:nvPicPr>
        <p:blipFill>
          <a:blip r:embed="rId2"/>
          <a:srcRect t="12274" r="6700" b="13334"/>
          <a:stretch/>
        </p:blipFill>
        <p:spPr>
          <a:xfrm>
            <a:off x="12318840" y="88560"/>
            <a:ext cx="12071520" cy="13627080"/>
          </a:xfrm>
          <a:prstGeom prst="rect">
            <a:avLst/>
          </a:prstGeom>
          <a:ln w="0">
            <a:noFill/>
          </a:ln>
        </p:spPr>
      </p:pic>
      <p:sp>
        <p:nvSpPr>
          <p:cNvPr id="293" name="Сквиркл"/>
          <p:cNvSpPr/>
          <p:nvPr/>
        </p:nvSpPr>
        <p:spPr>
          <a:xfrm>
            <a:off x="766800" y="3202920"/>
            <a:ext cx="11551680" cy="4708800"/>
          </a:xfrm>
          <a:prstGeom prst="roundRect">
            <a:avLst>
              <a:gd name="adj" fmla="val 4072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94" name="TextBox 25"/>
          <p:cNvSpPr/>
          <p:nvPr/>
        </p:nvSpPr>
        <p:spPr>
          <a:xfrm>
            <a:off x="4375800" y="4013640"/>
            <a:ext cx="7504200" cy="31197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1">
                <a:solidFill>
                  <a:srgbClr val="000000"/>
                </a:solidFill>
                <a:latin typeface="VTBGroup-Light"/>
                <a:ea typeface="DejaVu Sans"/>
              </a:rPr>
              <a:t>Выпускники ВУЗов/ССУЗов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2022 — 2023 года выпуска, 1-2 курса магистратуры 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Развитые коммуникативные и аналитические навыки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Возможность работать полный рабочий день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295" name="Линия"/>
          <p:cNvSpPr/>
          <p:nvPr/>
        </p:nvSpPr>
        <p:spPr>
          <a:xfrm>
            <a:off x="4155120" y="3591360"/>
            <a:ext cx="0" cy="367416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96" name="TextBox 25"/>
          <p:cNvSpPr/>
          <p:nvPr/>
        </p:nvSpPr>
        <p:spPr>
          <a:xfrm>
            <a:off x="873360" y="4970160"/>
            <a:ext cx="2952000" cy="11743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0" strike="noStrike" spc="-35">
                <a:solidFill>
                  <a:srgbClr val="00A2FF"/>
                </a:solidFill>
                <a:latin typeface="VTB Group Cond Book"/>
                <a:ea typeface="VTB Group Cond Book"/>
              </a:rPr>
              <a:t>Требования </a:t>
            </a:r>
            <a:r>
              <a:rPr sz="3500"/>
              <a:t/>
            </a:r>
            <a:br>
              <a:rPr sz="3500"/>
            </a:br>
            <a:r>
              <a:rPr lang="ru-RU" sz="3500" b="0" strike="noStrike" spc="-35">
                <a:solidFill>
                  <a:srgbClr val="00A2FF"/>
                </a:solidFill>
                <a:latin typeface="VTB Group Cond Book"/>
                <a:ea typeface="VTB Group Cond Book"/>
              </a:rPr>
              <a:t>к вам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297" name="Сквиркл"/>
          <p:cNvSpPr/>
          <p:nvPr/>
        </p:nvSpPr>
        <p:spPr>
          <a:xfrm>
            <a:off x="766800" y="8575560"/>
            <a:ext cx="11551680" cy="4476240"/>
          </a:xfrm>
          <a:prstGeom prst="roundRect">
            <a:avLst>
              <a:gd name="adj" fmla="val 4072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98" name="TextBox 25"/>
          <p:cNvSpPr/>
          <p:nvPr/>
        </p:nvSpPr>
        <p:spPr>
          <a:xfrm>
            <a:off x="4155480" y="9409680"/>
            <a:ext cx="7623000" cy="2955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Официальное трудоустройство, 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Конкурентная зарплата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Комплексная программа обучения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r>
              <a:rPr lang="ru-RU" sz="2800" b="0" strike="noStrike" spc="-1">
                <a:solidFill>
                  <a:srgbClr val="00ABFF"/>
                </a:solidFill>
                <a:latin typeface="VTBGroup-Light"/>
                <a:ea typeface="DejaVu Sans"/>
              </a:rPr>
              <a:t>/ </a:t>
            </a:r>
            <a:r>
              <a:rPr lang="ru-RU" sz="2800" b="0" strike="noStrike" spc="-29">
                <a:solidFill>
                  <a:srgbClr val="000000"/>
                </a:solidFill>
                <a:latin typeface="VTB Group Light"/>
                <a:ea typeface="VTB Group Cond Book"/>
              </a:rPr>
              <a:t>Полис ДМС</a:t>
            </a:r>
            <a:endParaRPr lang="ru-RU" sz="28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1199"/>
              </a:spcBef>
              <a:buNone/>
              <a:tabLst>
                <a:tab pos="0" algn="l"/>
              </a:tabLst>
            </a:pPr>
            <a:endParaRPr lang="ru-RU" sz="2800" b="0" strike="noStrike" spc="-1">
              <a:latin typeface="XO Oriel"/>
            </a:endParaRPr>
          </a:p>
        </p:txBody>
      </p:sp>
      <p:sp>
        <p:nvSpPr>
          <p:cNvPr id="299" name="TextBox 25"/>
          <p:cNvSpPr/>
          <p:nvPr/>
        </p:nvSpPr>
        <p:spPr>
          <a:xfrm>
            <a:off x="1051560" y="10087560"/>
            <a:ext cx="2595960" cy="11743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0" strike="noStrike" spc="-35">
                <a:solidFill>
                  <a:srgbClr val="00A2FF"/>
                </a:solidFill>
                <a:latin typeface="VTB Group Cond Book"/>
                <a:ea typeface="VTB Group Cond Book"/>
              </a:rPr>
              <a:t>Мы </a:t>
            </a:r>
            <a:r>
              <a:rPr sz="3500"/>
              <a:t/>
            </a:r>
            <a:br>
              <a:rPr sz="3500"/>
            </a:br>
            <a:r>
              <a:rPr lang="ru-RU" sz="3500" b="0" strike="noStrike" spc="-35">
                <a:solidFill>
                  <a:srgbClr val="00A2FF"/>
                </a:solidFill>
                <a:latin typeface="VTB Group Cond Book"/>
                <a:ea typeface="VTB Group Cond Book"/>
              </a:rPr>
              <a:t>предлагаем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300" name="Линия"/>
          <p:cNvSpPr/>
          <p:nvPr/>
        </p:nvSpPr>
        <p:spPr>
          <a:xfrm>
            <a:off x="3746520" y="9106920"/>
            <a:ext cx="360" cy="3265920"/>
          </a:xfrm>
          <a:prstGeom prst="line">
            <a:avLst/>
          </a:prstGeom>
          <a:ln w="25400">
            <a:solidFill>
              <a:srgbClr val="053674">
                <a:alpha val="10000"/>
              </a:srgbClr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1" name="PlaceHolder 1"/>
          <p:cNvSpPr>
            <a:spLocks noGrp="1"/>
          </p:cNvSpPr>
          <p:nvPr>
            <p:ph type="title"/>
          </p:nvPr>
        </p:nvSpPr>
        <p:spPr>
          <a:xfrm>
            <a:off x="873360" y="559440"/>
            <a:ext cx="12634200" cy="24732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Требования и условия работы</a:t>
            </a:r>
            <a:endParaRPr lang="ru-RU" sz="6000" b="0" strike="noStrike" spc="-1">
              <a:solidFill>
                <a:srgbClr val="000000"/>
              </a:solidFill>
              <a:latin typeface="Helvetica Neue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8E1DFF"/>
            </a:gs>
            <a:gs pos="100000">
              <a:srgbClr val="092082"/>
            </a:gs>
          </a:gsLst>
          <a:lin ang="135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Сквиркл"/>
          <p:cNvSpPr/>
          <p:nvPr/>
        </p:nvSpPr>
        <p:spPr>
          <a:xfrm>
            <a:off x="1577160" y="5074920"/>
            <a:ext cx="10317600" cy="3303000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3" name="Сквиркл"/>
          <p:cNvSpPr/>
          <p:nvPr/>
        </p:nvSpPr>
        <p:spPr>
          <a:xfrm>
            <a:off x="12488760" y="5074920"/>
            <a:ext cx="10317600" cy="3303000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4" name="Сквиркл"/>
          <p:cNvSpPr/>
          <p:nvPr/>
        </p:nvSpPr>
        <p:spPr>
          <a:xfrm>
            <a:off x="1567080" y="8959320"/>
            <a:ext cx="10317600" cy="3303000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5" name="Сквиркл"/>
          <p:cNvSpPr/>
          <p:nvPr/>
        </p:nvSpPr>
        <p:spPr>
          <a:xfrm>
            <a:off x="12488760" y="8959320"/>
            <a:ext cx="10317600" cy="3303000"/>
          </a:xfrm>
          <a:prstGeom prst="roundRect">
            <a:avLst>
              <a:gd name="adj" fmla="val 4613"/>
            </a:avLst>
          </a:prstGeom>
          <a:solidFill>
            <a:srgbClr val="FFFFFF"/>
          </a:soli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6" name="Начало приема заявок"/>
          <p:cNvSpPr/>
          <p:nvPr/>
        </p:nvSpPr>
        <p:spPr>
          <a:xfrm>
            <a:off x="4788000" y="5929560"/>
            <a:ext cx="3487680" cy="692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Прием заявок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307" name="25 февраля 2020"/>
          <p:cNvSpPr/>
          <p:nvPr/>
        </p:nvSpPr>
        <p:spPr>
          <a:xfrm>
            <a:off x="5134680" y="6679752"/>
            <a:ext cx="2499210" cy="640175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spc="-52" smtClean="0">
                <a:solidFill>
                  <a:srgbClr val="000000"/>
                </a:solidFill>
                <a:latin typeface="VTB Group Cond Book"/>
                <a:ea typeface="VTB Group Cond Book"/>
              </a:rPr>
              <a:t>15</a:t>
            </a:r>
            <a:r>
              <a:rPr lang="ru-RU" sz="3200" b="0" strike="noStrike" spc="-52" smtClean="0">
                <a:solidFill>
                  <a:srgbClr val="000000"/>
                </a:solidFill>
                <a:latin typeface="VTB Group Cond Book"/>
                <a:ea typeface="VTB Group Cond Book"/>
              </a:rPr>
              <a:t> июня </a:t>
            </a:r>
            <a:r>
              <a:rPr lang="ru-RU" sz="3200" b="0" strike="noStrike" spc="-52" dirty="0">
                <a:solidFill>
                  <a:srgbClr val="000000"/>
                </a:solidFill>
                <a:latin typeface="VTB Group Cond Book"/>
                <a:ea typeface="VTB Group Cond Book"/>
              </a:rPr>
              <a:t>2023</a:t>
            </a:r>
            <a:endParaRPr lang="ru-RU" sz="3200" b="0" strike="noStrike" spc="-1" dirty="0">
              <a:latin typeface="XO Oriel"/>
            </a:endParaRPr>
          </a:p>
        </p:txBody>
      </p:sp>
      <p:sp>
        <p:nvSpPr>
          <p:cNvPr id="308" name="Продолжительность"/>
          <p:cNvSpPr/>
          <p:nvPr/>
        </p:nvSpPr>
        <p:spPr>
          <a:xfrm>
            <a:off x="15594840" y="5866200"/>
            <a:ext cx="5060160" cy="692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Продолжительность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309" name="12 месяцев"/>
          <p:cNvSpPr/>
          <p:nvPr/>
        </p:nvSpPr>
        <p:spPr>
          <a:xfrm>
            <a:off x="16027920" y="6647760"/>
            <a:ext cx="1725840" cy="6343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52">
                <a:solidFill>
                  <a:srgbClr val="000000"/>
                </a:solidFill>
                <a:latin typeface="VTB Group Cond Book"/>
                <a:ea typeface="VTB Group Cond Book"/>
              </a:rPr>
              <a:t>12 месяцев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10" name="География"/>
          <p:cNvSpPr/>
          <p:nvPr/>
        </p:nvSpPr>
        <p:spPr>
          <a:xfrm>
            <a:off x="15740640" y="9758880"/>
            <a:ext cx="2719080" cy="692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География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311" name="Москва, Санкт-Петербург"/>
          <p:cNvSpPr/>
          <p:nvPr/>
        </p:nvSpPr>
        <p:spPr>
          <a:xfrm>
            <a:off x="15978240" y="10603440"/>
            <a:ext cx="8405640" cy="4881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sp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3200" b="0" strike="noStrike" spc="-52">
                <a:solidFill>
                  <a:srgbClr val="000000"/>
                </a:solidFill>
                <a:latin typeface="VTB Group Cond Book"/>
                <a:ea typeface="VTB Group Cond Book"/>
              </a:rPr>
              <a:t>Более 65 городов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12" name="Начало стажировки"/>
          <p:cNvSpPr/>
          <p:nvPr/>
        </p:nvSpPr>
        <p:spPr>
          <a:xfrm>
            <a:off x="4674960" y="9758880"/>
            <a:ext cx="4965840" cy="692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500" b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Начало стажировки</a:t>
            </a:r>
            <a:endParaRPr lang="ru-RU" sz="3500" b="0" strike="noStrike" spc="-1">
              <a:latin typeface="XO Oriel"/>
            </a:endParaRPr>
          </a:p>
        </p:txBody>
      </p:sp>
      <p:sp>
        <p:nvSpPr>
          <p:cNvPr id="313" name="01 июля 2020"/>
          <p:cNvSpPr/>
          <p:nvPr/>
        </p:nvSpPr>
        <p:spPr>
          <a:xfrm>
            <a:off x="5118480" y="10530360"/>
            <a:ext cx="1956960" cy="6343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en-US" sz="3200" b="0" strike="noStrike" spc="-52">
                <a:solidFill>
                  <a:srgbClr val="000000"/>
                </a:solidFill>
                <a:latin typeface="VTB Group Cond Book"/>
                <a:ea typeface="VTB Group Cond Book"/>
              </a:rPr>
              <a:t>3 июля</a:t>
            </a:r>
            <a:r>
              <a:rPr lang="ru-RU" sz="3200" b="0" strike="noStrike" spc="-52">
                <a:solidFill>
                  <a:srgbClr val="000000"/>
                </a:solidFill>
                <a:latin typeface="VTB Group Cond Book"/>
                <a:ea typeface="VTB Group Cond Book"/>
              </a:rPr>
              <a:t> 2023 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1567080" y="1607400"/>
            <a:ext cx="12634200" cy="2473200"/>
          </a:xfrm>
          <a:prstGeom prst="rect">
            <a:avLst/>
          </a:prstGeom>
          <a:noFill/>
          <a:ln w="12600">
            <a:noFill/>
          </a:ln>
        </p:spPr>
        <p:txBody>
          <a:bodyPr tIns="91440" bIns="9144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FFFFFF"/>
                </a:solidFill>
                <a:latin typeface="VTB Group Bold"/>
                <a:ea typeface="Helvetica Neue Medium"/>
              </a:rPr>
              <a:t>Даты и длительность стажировки</a:t>
            </a:r>
            <a:endParaRPr lang="ru-RU" sz="6000" b="0" strike="noStrike" spc="-1">
              <a:solidFill>
                <a:srgbClr val="000000"/>
              </a:solidFill>
              <a:latin typeface="Helvetica Neue"/>
            </a:endParaRPr>
          </a:p>
        </p:txBody>
      </p:sp>
      <p:pic>
        <p:nvPicPr>
          <p:cNvPr id="315" name="Рисунок 1"/>
          <p:cNvPicPr/>
          <p:nvPr/>
        </p:nvPicPr>
        <p:blipFill>
          <a:blip r:embed="rId2"/>
          <a:stretch/>
        </p:blipFill>
        <p:spPr>
          <a:xfrm>
            <a:off x="13063680" y="9498600"/>
            <a:ext cx="2674080" cy="2206080"/>
          </a:xfrm>
          <a:prstGeom prst="rect">
            <a:avLst/>
          </a:prstGeom>
          <a:ln w="0">
            <a:noFill/>
          </a:ln>
        </p:spPr>
      </p:pic>
      <p:pic>
        <p:nvPicPr>
          <p:cNvPr id="316" name="Рисунок 2"/>
          <p:cNvPicPr/>
          <p:nvPr/>
        </p:nvPicPr>
        <p:blipFill>
          <a:blip r:embed="rId3"/>
          <a:stretch/>
        </p:blipFill>
        <p:spPr>
          <a:xfrm>
            <a:off x="13139640" y="5756760"/>
            <a:ext cx="2244600" cy="1850760"/>
          </a:xfrm>
          <a:prstGeom prst="rect">
            <a:avLst/>
          </a:prstGeom>
          <a:ln w="0">
            <a:noFill/>
          </a:ln>
        </p:spPr>
      </p:pic>
      <p:pic>
        <p:nvPicPr>
          <p:cNvPr id="317" name="Рисунок 3"/>
          <p:cNvPicPr/>
          <p:nvPr/>
        </p:nvPicPr>
        <p:blipFill>
          <a:blip r:embed="rId4"/>
          <a:stretch/>
        </p:blipFill>
        <p:spPr>
          <a:xfrm>
            <a:off x="1995480" y="9784800"/>
            <a:ext cx="2768760" cy="1941480"/>
          </a:xfrm>
          <a:prstGeom prst="rect">
            <a:avLst/>
          </a:prstGeom>
          <a:ln w="0">
            <a:noFill/>
          </a:ln>
        </p:spPr>
      </p:pic>
      <p:pic>
        <p:nvPicPr>
          <p:cNvPr id="318" name="Рисунок 4"/>
          <p:cNvPicPr/>
          <p:nvPr/>
        </p:nvPicPr>
        <p:blipFill>
          <a:blip r:embed="rId5"/>
          <a:stretch/>
        </p:blipFill>
        <p:spPr>
          <a:xfrm>
            <a:off x="2531160" y="5730480"/>
            <a:ext cx="1914480" cy="18990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TextBox 25"/>
          <p:cNvSpPr/>
          <p:nvPr/>
        </p:nvSpPr>
        <p:spPr>
          <a:xfrm>
            <a:off x="12742920" y="7239600"/>
            <a:ext cx="8184960" cy="633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>
              <a:lnSpc>
                <a:spcPct val="13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ru-RU" sz="3200" b="0" strike="noStrike" spc="-32">
                <a:solidFill>
                  <a:srgbClr val="FFFFFF"/>
                </a:solidFill>
                <a:latin typeface="VTB Group Cond Book"/>
                <a:ea typeface="VTB Group Cond Book"/>
              </a:rPr>
              <a:t>Средний и малый бизнес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20" name="Заголовок 1"/>
          <p:cNvSpPr/>
          <p:nvPr/>
        </p:nvSpPr>
        <p:spPr>
          <a:xfrm>
            <a:off x="1029960" y="1006200"/>
            <a:ext cx="16695720" cy="1004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00A2FF"/>
                </a:solidFill>
                <a:latin typeface="VTB Group Bold"/>
                <a:ea typeface="Helvetica Neue Medium"/>
              </a:rPr>
              <a:t>География стажировки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21" name="Сквиркл"/>
          <p:cNvSpPr/>
          <p:nvPr/>
        </p:nvSpPr>
        <p:spPr>
          <a:xfrm>
            <a:off x="1576800" y="2360520"/>
            <a:ext cx="21786840" cy="10625400"/>
          </a:xfrm>
          <a:prstGeom prst="roundRect">
            <a:avLst>
              <a:gd name="adj" fmla="val 12354"/>
            </a:avLst>
          </a:prstGeom>
          <a:gradFill rotWithShape="0">
            <a:gsLst>
              <a:gs pos="0">
                <a:srgbClr val="8E1DFF"/>
              </a:gs>
              <a:gs pos="100000">
                <a:srgbClr val="092082"/>
              </a:gs>
            </a:gsLst>
            <a:lin ang="1350000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2" name="TextBox 25"/>
          <p:cNvSpPr/>
          <p:nvPr/>
        </p:nvSpPr>
        <p:spPr>
          <a:xfrm>
            <a:off x="2485440" y="2440080"/>
            <a:ext cx="8029800" cy="104385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numCol="2" spcCol="0" anchor="t">
            <a:spAutoFit/>
          </a:bodyPr>
          <a:lstStyle/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Архангель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Астрахань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Балаших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Барнаул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Белгород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Благовеще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Бря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Великий Новгород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Владивосто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Владимир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Волгоград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Воронеж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Грозный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Екатеринбург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Жуковский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Иваново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Ижев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Иркут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Йошкар-Ол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азань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23" name="TextBox 25"/>
          <p:cNvSpPr/>
          <p:nvPr/>
        </p:nvSpPr>
        <p:spPr>
          <a:xfrm>
            <a:off x="8115480" y="1829520"/>
            <a:ext cx="5928480" cy="114951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numCol="2" spcCol="0" anchor="t">
            <a:spAutoFit/>
          </a:bodyPr>
          <a:lstStyle/>
          <a:p>
            <a:pPr>
              <a:lnSpc>
                <a:spcPct val="130000"/>
              </a:lnSpc>
              <a:spcBef>
                <a:spcPts val="1001"/>
              </a:spcBef>
              <a:buNone/>
            </a:pP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алининград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алуг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емерово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иров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остром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оролев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раснодар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раснояр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Кур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Липец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Москв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Мурма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Нижний Новгород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Новосибир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Новый Уренгой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Ом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Орёл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Оренбург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Пенз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Пермь</a:t>
            </a:r>
            <a:endParaRPr lang="ru-RU" sz="2000" b="0" strike="noStrike" spc="-1">
              <a:latin typeface="XO Oriel"/>
            </a:endParaRPr>
          </a:p>
          <a:p>
            <a:pPr>
              <a:lnSpc>
                <a:spcPct val="130000"/>
              </a:lnSpc>
              <a:spcBef>
                <a:spcPts val="1001"/>
              </a:spcBef>
              <a:buNone/>
            </a:pPr>
            <a:endParaRPr lang="ru-RU" sz="2000" b="0" strike="noStrike" spc="-1">
              <a:latin typeface="XO Oriel"/>
            </a:endParaRPr>
          </a:p>
          <a:p>
            <a:pPr>
              <a:lnSpc>
                <a:spcPct val="130000"/>
              </a:lnSpc>
              <a:spcBef>
                <a:spcPts val="1001"/>
              </a:spcBef>
              <a:buNone/>
            </a:pPr>
            <a:endParaRPr lang="ru-RU" sz="2000" b="0" strike="noStrike" spc="-1">
              <a:latin typeface="XO Oriel"/>
            </a:endParaRPr>
          </a:p>
        </p:txBody>
      </p:sp>
      <p:sp>
        <p:nvSpPr>
          <p:cNvPr id="324" name="TextBox 25"/>
          <p:cNvSpPr/>
          <p:nvPr/>
        </p:nvSpPr>
        <p:spPr>
          <a:xfrm>
            <a:off x="13871160" y="2360520"/>
            <a:ext cx="5928480" cy="104385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numCol="2" spcCol="0" anchor="t">
            <a:spAutoFit/>
          </a:bodyPr>
          <a:lstStyle/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Петрозавод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Подоль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Псков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Ростов-на-Дону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Рязань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амар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анкт-Петербург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ара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аратов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моле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таврополь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ургут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Сыктывкар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Тамбов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Тверь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Том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Тул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Тюмень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Улан-Удэ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Ульяновск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25" name="TextBox 25"/>
          <p:cNvSpPr/>
          <p:nvPr/>
        </p:nvSpPr>
        <p:spPr>
          <a:xfrm>
            <a:off x="19181880" y="2418120"/>
            <a:ext cx="5928480" cy="46267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numCol="2" spcCol="0" anchor="t">
            <a:spAutoFit/>
          </a:bodyPr>
          <a:lstStyle/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Уфа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Хабаров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Чебоксары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Челяби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Череповец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Чита 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Южно-Сахалин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Якутск</a:t>
            </a:r>
            <a:endParaRPr lang="ru-RU" sz="2000" b="0" strike="noStrike" spc="-1">
              <a:latin typeface="XO Oriel"/>
            </a:endParaRPr>
          </a:p>
          <a:p>
            <a:pPr marL="514440" indent="-514440">
              <a:lnSpc>
                <a:spcPct val="130000"/>
              </a:lnSpc>
              <a:spcBef>
                <a:spcPts val="1001"/>
              </a:spcBef>
              <a:buClr>
                <a:srgbClr val="1A9FDE"/>
              </a:buClr>
              <a:buFont typeface="Arial"/>
              <a:buChar char="•"/>
            </a:pPr>
            <a:r>
              <a:rPr lang="ru-RU" sz="2000" b="0" strike="noStrike" spc="-1">
                <a:solidFill>
                  <a:srgbClr val="FFFFFF"/>
                </a:solidFill>
                <a:latin typeface="VTBGroup-Light"/>
                <a:ea typeface="DejaVu Sans"/>
              </a:rPr>
              <a:t>Ярославль</a:t>
            </a:r>
            <a:endParaRPr lang="ru-RU" sz="2000" b="0" strike="noStrike" spc="-1">
              <a:latin typeface="XO Orie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Осталось пройти интервью с менеджером отдела"/>
          <p:cNvSpPr/>
          <p:nvPr/>
        </p:nvSpPr>
        <p:spPr>
          <a:xfrm>
            <a:off x="1577160" y="1200960"/>
            <a:ext cx="19260360" cy="1107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0027A2"/>
                </a:solidFill>
                <a:latin typeface="VTB Group Bold"/>
                <a:ea typeface="Helvetica Neue Medium"/>
              </a:rPr>
              <a:t>Обучение ВТБ Юниор в региональной сети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27" name="Сквиркл"/>
          <p:cNvSpPr/>
          <p:nvPr/>
        </p:nvSpPr>
        <p:spPr>
          <a:xfrm>
            <a:off x="157716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8" name="Сквиркл"/>
          <p:cNvSpPr/>
          <p:nvPr/>
        </p:nvSpPr>
        <p:spPr>
          <a:xfrm>
            <a:off x="12488760" y="4167000"/>
            <a:ext cx="515124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9" name="Перед встречей"/>
          <p:cNvSpPr/>
          <p:nvPr/>
        </p:nvSpPr>
        <p:spPr>
          <a:xfrm>
            <a:off x="2520000" y="4320000"/>
            <a:ext cx="2676240" cy="15591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Изучение первичной информации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30" name="Изучите информацию о компании и отделе…"/>
          <p:cNvSpPr/>
          <p:nvPr/>
        </p:nvSpPr>
        <p:spPr>
          <a:xfrm>
            <a:off x="1577160" y="6509880"/>
            <a:ext cx="4726080" cy="321408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Финансовые продукты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тандарты обслуживания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Выполнение простых клиентских операций</a:t>
            </a:r>
            <a:endParaRPr lang="ru-RU" sz="2400" b="0" strike="noStrike" spc="-1">
              <a:latin typeface="XO Oriel"/>
            </a:endParaRPr>
          </a:p>
        </p:txBody>
      </p:sp>
      <p:pic>
        <p:nvPicPr>
          <p:cNvPr id="331" name="Изображение" descr="Изображение"/>
          <p:cNvPicPr/>
          <p:nvPr/>
        </p:nvPicPr>
        <p:blipFill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/>
        </p:blipFill>
        <p:spPr>
          <a:xfrm>
            <a:off x="1779120" y="4921200"/>
            <a:ext cx="511920" cy="511920"/>
          </a:xfrm>
          <a:prstGeom prst="rect">
            <a:avLst/>
          </a:prstGeom>
          <a:ln w="12700">
            <a:noFill/>
          </a:ln>
        </p:spPr>
      </p:pic>
      <p:sp>
        <p:nvSpPr>
          <p:cNvPr id="332" name="Сквиркл"/>
          <p:cNvSpPr/>
          <p:nvPr/>
        </p:nvSpPr>
        <p:spPr>
          <a:xfrm>
            <a:off x="701280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3" name="Сквиркл"/>
          <p:cNvSpPr/>
          <p:nvPr/>
        </p:nvSpPr>
        <p:spPr>
          <a:xfrm>
            <a:off x="1823760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4" name="Перед встречей"/>
          <p:cNvSpPr/>
          <p:nvPr/>
        </p:nvSpPr>
        <p:spPr>
          <a:xfrm>
            <a:off x="7153560" y="4170960"/>
            <a:ext cx="4366440" cy="19490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Изучение информации по работе с физическими лицами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35" name="Перед встречей"/>
          <p:cNvSpPr/>
          <p:nvPr/>
        </p:nvSpPr>
        <p:spPr>
          <a:xfrm>
            <a:off x="12600000" y="4320000"/>
            <a:ext cx="4906080" cy="17060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28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Изучение информации по работе с зарплатными и корпоративными клиентами</a:t>
            </a:r>
            <a:endParaRPr lang="ru-RU" sz="2800" b="0" strike="noStrike" spc="-1">
              <a:latin typeface="XO Oriel"/>
            </a:endParaRPr>
          </a:p>
        </p:txBody>
      </p:sp>
      <p:sp>
        <p:nvSpPr>
          <p:cNvPr id="336" name="Перед встречей"/>
          <p:cNvSpPr/>
          <p:nvPr/>
        </p:nvSpPr>
        <p:spPr>
          <a:xfrm>
            <a:off x="18350640" y="4250880"/>
            <a:ext cx="4613040" cy="15591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Знакомство с работой в премиальном сегменте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37" name="Изучите информацию о компании и отделе…"/>
          <p:cNvSpPr/>
          <p:nvPr/>
        </p:nvSpPr>
        <p:spPr>
          <a:xfrm>
            <a:off x="7032960" y="6509880"/>
            <a:ext cx="4726080" cy="29354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Полный перечень продуктовой линейки Банка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Работа в программном обеспечении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38" name="Изучите информацию о компании и отделе…"/>
          <p:cNvSpPr/>
          <p:nvPr/>
        </p:nvSpPr>
        <p:spPr>
          <a:xfrm>
            <a:off x="12601800" y="6459120"/>
            <a:ext cx="4726080" cy="33375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пецифика работы с корпоративными клиентами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Навыки эффективных презентаций для больших аудиторий 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39" name="Изучите информацию о компании и отделе…"/>
          <p:cNvSpPr/>
          <p:nvPr/>
        </p:nvSpPr>
        <p:spPr>
          <a:xfrm>
            <a:off x="18171000" y="6306840"/>
            <a:ext cx="4726080" cy="37389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пецифика продаж и обслуживания клиентов сегмента Привилегия,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Изучение продуктовой линейки ВТБ для клиентов сегмента Привилегия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40" name="Изучите информацию о компании и отделе…"/>
          <p:cNvSpPr/>
          <p:nvPr/>
        </p:nvSpPr>
        <p:spPr>
          <a:xfrm>
            <a:off x="8634960" y="2382480"/>
            <a:ext cx="5144760" cy="1449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Обучение в розничном бизнесе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41" name="Начало стажировки"/>
          <p:cNvSpPr/>
          <p:nvPr/>
        </p:nvSpPr>
        <p:spPr>
          <a:xfrm>
            <a:off x="1951560" y="12281400"/>
            <a:ext cx="2991600" cy="395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2000" b="1" i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С момента оформления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42" name="Начало стажировки"/>
          <p:cNvSpPr/>
          <p:nvPr/>
        </p:nvSpPr>
        <p:spPr>
          <a:xfrm>
            <a:off x="7959960" y="12281400"/>
            <a:ext cx="1796400" cy="395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2000" b="1" i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Сентябрь 2023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43" name="Начало стажировки"/>
          <p:cNvSpPr/>
          <p:nvPr/>
        </p:nvSpPr>
        <p:spPr>
          <a:xfrm>
            <a:off x="14065920" y="12281400"/>
            <a:ext cx="1299960" cy="395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2000" b="1" i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Март 2024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44" name="Начало стажировки"/>
          <p:cNvSpPr/>
          <p:nvPr/>
        </p:nvSpPr>
        <p:spPr>
          <a:xfrm>
            <a:off x="19759320" y="12281400"/>
            <a:ext cx="1796400" cy="395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ctr">
            <a:spAutoFit/>
          </a:bodyPr>
          <a:lstStyle/>
          <a:p>
            <a:pPr>
              <a:lnSpc>
                <a:spcPct val="13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2000" b="1" i="1" strike="noStrike" spc="-35">
                <a:solidFill>
                  <a:srgbClr val="00A2FF"/>
                </a:solidFill>
                <a:latin typeface="VTB Group Light"/>
                <a:ea typeface="VTB Group Cond Book"/>
              </a:rPr>
              <a:t>Май-июнь 2024</a:t>
            </a:r>
            <a:endParaRPr lang="ru-RU" sz="2000" b="0" strike="noStrike" spc="-1">
              <a:latin typeface="XO Oriel"/>
            </a:endParaRPr>
          </a:p>
        </p:txBody>
      </p:sp>
      <p:sp>
        <p:nvSpPr>
          <p:cNvPr id="345" name="Мы помогаем людям воплощать их планы, создавая лучшие финансовые решения.…"/>
          <p:cNvSpPr/>
          <p:nvPr/>
        </p:nvSpPr>
        <p:spPr>
          <a:xfrm>
            <a:off x="7306200" y="10861560"/>
            <a:ext cx="9193320" cy="368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1600" b="0" i="1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*На каждом этапе обучения за стажером-Юниором закрепляется Наставник/опытный коллега</a:t>
            </a:r>
            <a:endParaRPr lang="ru-RU" sz="1600" b="0" strike="noStrike" spc="-1">
              <a:latin typeface="XO Oriel"/>
            </a:endParaRPr>
          </a:p>
        </p:txBody>
      </p:sp>
      <p:sp>
        <p:nvSpPr>
          <p:cNvPr id="346" name="Скругленный прямоугольник 25"/>
          <p:cNvSpPr/>
          <p:nvPr/>
        </p:nvSpPr>
        <p:spPr>
          <a:xfrm>
            <a:off x="7212960" y="10844280"/>
            <a:ext cx="9286560" cy="399600"/>
          </a:xfrm>
          <a:prstGeom prst="roundRect">
            <a:avLst>
              <a:gd name="adj" fmla="val 28428"/>
            </a:avLst>
          </a:prstGeom>
          <a:noFill/>
          <a:ln w="47625">
            <a:solidFill>
              <a:srgbClr val="6FAAEC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Осталось пройти интервью с менеджером отдела"/>
          <p:cNvSpPr/>
          <p:nvPr/>
        </p:nvSpPr>
        <p:spPr>
          <a:xfrm>
            <a:off x="1577160" y="1200960"/>
            <a:ext cx="19260360" cy="1107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6000" b="0" strike="noStrike" spc="-1">
                <a:solidFill>
                  <a:srgbClr val="0027A2"/>
                </a:solidFill>
                <a:latin typeface="VTB Group Bold"/>
                <a:ea typeface="Helvetica Neue Medium"/>
              </a:rPr>
              <a:t>Обучение ВТБ Юниор в региональной сети</a:t>
            </a:r>
            <a:endParaRPr lang="ru-RU" sz="6000" b="0" strike="noStrike" spc="-1">
              <a:latin typeface="XO Oriel"/>
            </a:endParaRPr>
          </a:p>
        </p:txBody>
      </p:sp>
      <p:sp>
        <p:nvSpPr>
          <p:cNvPr id="348" name="Сквиркл"/>
          <p:cNvSpPr/>
          <p:nvPr/>
        </p:nvSpPr>
        <p:spPr>
          <a:xfrm>
            <a:off x="157716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49" name="Сквиркл"/>
          <p:cNvSpPr/>
          <p:nvPr/>
        </p:nvSpPr>
        <p:spPr>
          <a:xfrm>
            <a:off x="1248876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0" name="Перед встречей"/>
          <p:cNvSpPr/>
          <p:nvPr/>
        </p:nvSpPr>
        <p:spPr>
          <a:xfrm>
            <a:off x="2535480" y="4949640"/>
            <a:ext cx="3654720" cy="7801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Самостоятельное обучение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51" name="Изучите информацию о компании и отделе…"/>
          <p:cNvSpPr/>
          <p:nvPr/>
        </p:nvSpPr>
        <p:spPr>
          <a:xfrm>
            <a:off x="1577160" y="6509880"/>
            <a:ext cx="4726080" cy="32148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амостоятельное изучение учебных материалов 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 1-й недели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Длительность – 1 неделя</a:t>
            </a:r>
            <a:endParaRPr lang="ru-RU" sz="2400" b="0" strike="noStrike" spc="-1">
              <a:latin typeface="XO Oriel"/>
            </a:endParaRPr>
          </a:p>
        </p:txBody>
      </p:sp>
      <p:pic>
        <p:nvPicPr>
          <p:cNvPr id="352" name="Изображение" descr="Изображение"/>
          <p:cNvPicPr/>
          <p:nvPr/>
        </p:nvPicPr>
        <p:blipFill>
          <a:blip r:embed="rId2">
            <a:lum bright="70000" contrast="-70000"/>
            <a:extLst/>
          </a:blip>
          <a:stretch/>
        </p:blipFill>
        <p:spPr>
          <a:xfrm>
            <a:off x="1779120" y="4921200"/>
            <a:ext cx="511920" cy="511920"/>
          </a:xfrm>
          <a:prstGeom prst="rect">
            <a:avLst/>
          </a:prstGeom>
          <a:ln w="12700">
            <a:noFill/>
          </a:ln>
        </p:spPr>
      </p:pic>
      <p:sp>
        <p:nvSpPr>
          <p:cNvPr id="353" name="Сквиркл"/>
          <p:cNvSpPr/>
          <p:nvPr/>
        </p:nvSpPr>
        <p:spPr>
          <a:xfrm>
            <a:off x="701280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4" name="Сквиркл"/>
          <p:cNvSpPr/>
          <p:nvPr/>
        </p:nvSpPr>
        <p:spPr>
          <a:xfrm>
            <a:off x="18237600" y="4167000"/>
            <a:ext cx="4726080" cy="2057760"/>
          </a:xfrm>
          <a:prstGeom prst="roundRect">
            <a:avLst>
              <a:gd name="adj" fmla="val 2000"/>
            </a:avLst>
          </a:prstGeom>
          <a:gradFill rotWithShape="0">
            <a:gsLst>
              <a:gs pos="0">
                <a:srgbClr val="002AA0"/>
              </a:gs>
              <a:gs pos="100000">
                <a:srgbClr val="8E1DFF"/>
              </a:gs>
            </a:gsLst>
            <a:lin ang="0"/>
          </a:gradFill>
          <a:ln w="12700">
            <a:noFill/>
          </a:ln>
          <a:effectLst>
            <a:outerShdw blurRad="698400" dist="316080" dir="5400000" rotWithShape="0">
              <a:srgbClr val="000000">
                <a:alpha val="7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55" name="Перед встречей"/>
          <p:cNvSpPr/>
          <p:nvPr/>
        </p:nvSpPr>
        <p:spPr>
          <a:xfrm>
            <a:off x="7485840" y="4989960"/>
            <a:ext cx="4366440" cy="3902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Базовое обучение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56" name="Перед встречей"/>
          <p:cNvSpPr/>
          <p:nvPr/>
        </p:nvSpPr>
        <p:spPr>
          <a:xfrm>
            <a:off x="12801960" y="4846680"/>
            <a:ext cx="4613040" cy="7801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Самостоятельное обучение 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57" name="Перед встречей"/>
          <p:cNvSpPr/>
          <p:nvPr/>
        </p:nvSpPr>
        <p:spPr>
          <a:xfrm>
            <a:off x="18531000" y="4881960"/>
            <a:ext cx="4613040" cy="78012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>
              <a:lnSpc>
                <a:spcPct val="80000"/>
              </a:lnSpc>
              <a:spcBef>
                <a:spcPts val="4000"/>
              </a:spcBef>
              <a:buNone/>
              <a:tabLst>
                <a:tab pos="0" algn="l"/>
              </a:tabLst>
            </a:pPr>
            <a:r>
              <a:rPr lang="ru-RU" sz="3200" b="1" strike="noStrike" spc="-43">
                <a:solidFill>
                  <a:srgbClr val="FFFFFF"/>
                </a:solidFill>
                <a:latin typeface="VTB Group Book"/>
                <a:ea typeface="Arial"/>
              </a:rPr>
              <a:t>Продвинутое обучение</a:t>
            </a:r>
            <a:endParaRPr lang="ru-RU" sz="3200" b="0" strike="noStrike" spc="-1">
              <a:latin typeface="XO Oriel"/>
            </a:endParaRPr>
          </a:p>
        </p:txBody>
      </p:sp>
      <p:sp>
        <p:nvSpPr>
          <p:cNvPr id="358" name="Изучите информацию о компании и отделе…"/>
          <p:cNvSpPr/>
          <p:nvPr/>
        </p:nvSpPr>
        <p:spPr>
          <a:xfrm>
            <a:off x="7032960" y="6509880"/>
            <a:ext cx="4726080" cy="32148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амостоятельное изучение учебных материалов 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2-4 неделя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Длительность – 1 месяц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59" name="Изучите информацию о компании и отделе…"/>
          <p:cNvSpPr/>
          <p:nvPr/>
        </p:nvSpPr>
        <p:spPr>
          <a:xfrm>
            <a:off x="12601800" y="6459120"/>
            <a:ext cx="4726080" cy="333756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пецифика работы с корпоративными клиентами,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Навыки эффективных презентаций для больших аудиторий 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60" name="Изучите информацию о компании и отделе…"/>
          <p:cNvSpPr/>
          <p:nvPr/>
        </p:nvSpPr>
        <p:spPr>
          <a:xfrm>
            <a:off x="18171000" y="6306840"/>
            <a:ext cx="4726080" cy="32148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Обучение для повышения экспертизы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С 3 месяца </a:t>
            </a:r>
            <a:endParaRPr lang="ru-RU" sz="2400" b="0" strike="noStrike" spc="-1">
              <a:latin typeface="XO Oriel"/>
            </a:endParaRPr>
          </a:p>
          <a:p>
            <a:pPr marL="380880" indent="-380880">
              <a:lnSpc>
                <a:spcPct val="110000"/>
              </a:lnSpc>
              <a:spcBef>
                <a:spcPts val="2200"/>
              </a:spcBef>
              <a:buClr>
                <a:srgbClr val="1A9FDE"/>
              </a:buClr>
              <a:buSzPct val="90000"/>
              <a:buFont typeface="Symbol" charset="2"/>
              <a:buChar char=""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Длительность зависит от программы 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61" name="Изучите информацию о компании и отделе…"/>
          <p:cNvSpPr/>
          <p:nvPr/>
        </p:nvSpPr>
        <p:spPr>
          <a:xfrm>
            <a:off x="8634960" y="2382480"/>
            <a:ext cx="6276600" cy="144900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endParaRPr lang="ru-RU" sz="2400" b="0" strike="noStrike" spc="-1">
              <a:latin typeface="XO Oriel"/>
            </a:endParaRPr>
          </a:p>
          <a:p>
            <a:pPr>
              <a:lnSpc>
                <a:spcPct val="110000"/>
              </a:lnSpc>
              <a:spcBef>
                <a:spcPts val="2200"/>
              </a:spcBef>
              <a:buNone/>
              <a:tabLst>
                <a:tab pos="0" algn="l"/>
              </a:tabLst>
            </a:pPr>
            <a:r>
              <a:rPr lang="ru-RU" sz="2400" b="0" strike="noStrike" spc="-29">
                <a:solidFill>
                  <a:srgbClr val="00A2FF"/>
                </a:solidFill>
                <a:latin typeface="VTB Group Bold"/>
                <a:ea typeface="Helvetica Neue Medium"/>
              </a:rPr>
              <a:t>Обучение в среднем и малом бизнесе</a:t>
            </a:r>
            <a:endParaRPr lang="ru-RU" sz="2400" b="0" strike="noStrike" spc="-1">
              <a:latin typeface="XO Oriel"/>
            </a:endParaRPr>
          </a:p>
        </p:txBody>
      </p:sp>
      <p:sp>
        <p:nvSpPr>
          <p:cNvPr id="362" name="Мы помогаем людям воплощать их планы, создавая лучшие финансовые решения.…"/>
          <p:cNvSpPr/>
          <p:nvPr/>
        </p:nvSpPr>
        <p:spPr>
          <a:xfrm>
            <a:off x="7306200" y="10861560"/>
            <a:ext cx="9193320" cy="368640"/>
          </a:xfrm>
          <a:prstGeom prst="rect">
            <a:avLst/>
          </a:prstGeom>
          <a:noFill/>
          <a:ln w="127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50760" tIns="50760" rIns="50760" bIns="50760" anchor="t">
            <a:spAutoFit/>
          </a:bodyPr>
          <a:lstStyle/>
          <a:p>
            <a:pPr>
              <a:lnSpc>
                <a:spcPct val="110000"/>
              </a:lnSpc>
              <a:buNone/>
              <a:tabLst>
                <a:tab pos="0" algn="l"/>
              </a:tabLst>
            </a:pPr>
            <a:r>
              <a:rPr lang="ru-RU" sz="1600" b="0" i="1" strike="noStrike" spc="-1">
                <a:solidFill>
                  <a:srgbClr val="000000"/>
                </a:solidFill>
                <a:latin typeface="VTB Group Light"/>
                <a:ea typeface="VTB Group Cond Book"/>
              </a:rPr>
              <a:t>*На каждом этапе обучения за стажером-Юниором закрепляется Наставник/опытный коллега</a:t>
            </a:r>
            <a:endParaRPr lang="ru-RU" sz="1600" b="0" strike="noStrike" spc="-1">
              <a:latin typeface="XO Oriel"/>
            </a:endParaRPr>
          </a:p>
        </p:txBody>
      </p:sp>
      <p:sp>
        <p:nvSpPr>
          <p:cNvPr id="363" name="Скругленный прямоугольник 25"/>
          <p:cNvSpPr/>
          <p:nvPr/>
        </p:nvSpPr>
        <p:spPr>
          <a:xfrm>
            <a:off x="7212960" y="10844280"/>
            <a:ext cx="9286560" cy="399600"/>
          </a:xfrm>
          <a:prstGeom prst="roundRect">
            <a:avLst>
              <a:gd name="adj" fmla="val 28428"/>
            </a:avLst>
          </a:prstGeom>
          <a:noFill/>
          <a:ln w="47625">
            <a:solidFill>
              <a:srgbClr val="6FAAEC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taskpanes.xml><?xml version="1.0" encoding="utf-8"?>
<wetp:taskpanes xmlns:wetp="http://schemas.microsoft.com/office/webextensions/taskpanes/2010/11">
  <wetp:taskpane dockstate="right" visibility="0" width="437" row="4">
    <wetp:webextensionref xmlns:r="http://schemas.openxmlformats.org/officeDocument/2006/relationships" r:id="rId1"/>
  </wetp:taskpane>
</wetp:taskpanes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72</TotalTime>
  <Words>683</Words>
  <Application>Microsoft Office PowerPoint</Application>
  <PresentationFormat>Произвольный</PresentationFormat>
  <Paragraphs>197</Paragraphs>
  <Slides>1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Office Theme</vt:lpstr>
      <vt:lpstr>Office Theme</vt:lpstr>
      <vt:lpstr>Office Theme</vt:lpstr>
      <vt:lpstr>Office Theme</vt:lpstr>
      <vt:lpstr>Office Theme</vt:lpstr>
      <vt:lpstr>TCLayout.ActiveDocument.1</vt:lpstr>
      <vt:lpstr>Презентация PowerPoint</vt:lpstr>
      <vt:lpstr>Презентация PowerPoint</vt:lpstr>
      <vt:lpstr>Ключевые факты о ВТБ</vt:lpstr>
      <vt:lpstr>Стажировка ВТБ Юниор в сети  Направления стажировки</vt:lpstr>
      <vt:lpstr>Требования и условия работы</vt:lpstr>
      <vt:lpstr>Даты и длительность стажиров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полните форму и станьте частью команды ВТБ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Леонидис Нина Сергеевна</dc:creator>
  <dc:description/>
  <cp:lastModifiedBy>user2</cp:lastModifiedBy>
  <cp:revision>171</cp:revision>
  <dcterms:modified xsi:type="dcterms:W3CDTF">2023-05-24T04:46:18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3</vt:i4>
  </property>
  <property fmtid="{D5CDD505-2E9C-101B-9397-08002B2CF9AE}" pid="3" name="PresentationFormat">
    <vt:lpwstr>Произвольный</vt:lpwstr>
  </property>
  <property fmtid="{D5CDD505-2E9C-101B-9397-08002B2CF9AE}" pid="4" name="Slides">
    <vt:i4>18</vt:i4>
  </property>
</Properties>
</file>